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77" r:id="rId6"/>
    <p:sldMasterId id="2147483688" r:id="rId7"/>
  </p:sldMasterIdLst>
  <p:notesMasterIdLst>
    <p:notesMasterId r:id="rId38"/>
  </p:notesMasterIdLst>
  <p:sldIdLst>
    <p:sldId id="257" r:id="rId8"/>
    <p:sldId id="2147483513" r:id="rId9"/>
    <p:sldId id="276" r:id="rId10"/>
    <p:sldId id="2147481238" r:id="rId11"/>
    <p:sldId id="2147481286" r:id="rId12"/>
    <p:sldId id="2147483522" r:id="rId13"/>
    <p:sldId id="2147483524" r:id="rId14"/>
    <p:sldId id="2147481538" r:id="rId15"/>
    <p:sldId id="2147481539" r:id="rId16"/>
    <p:sldId id="2147481540" r:id="rId17"/>
    <p:sldId id="2147483584" r:id="rId18"/>
    <p:sldId id="2147483579" r:id="rId19"/>
    <p:sldId id="2147483580" r:id="rId20"/>
    <p:sldId id="2147483581" r:id="rId21"/>
    <p:sldId id="2147483478" r:id="rId22"/>
    <p:sldId id="2147483527" r:id="rId23"/>
    <p:sldId id="2147483540" r:id="rId24"/>
    <p:sldId id="2147483542" r:id="rId25"/>
    <p:sldId id="2147483582" r:id="rId26"/>
    <p:sldId id="258" r:id="rId27"/>
    <p:sldId id="256" r:id="rId28"/>
    <p:sldId id="2147483585" r:id="rId29"/>
    <p:sldId id="2147483586" r:id="rId30"/>
    <p:sldId id="259" r:id="rId31"/>
    <p:sldId id="260" r:id="rId32"/>
    <p:sldId id="261" r:id="rId33"/>
    <p:sldId id="262" r:id="rId34"/>
    <p:sldId id="2147483587" r:id="rId35"/>
    <p:sldId id="2147481531" r:id="rId36"/>
    <p:sldId id="2147483486"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C45310D-103A-C38E-CE73-98EB707DF029}" name="Fritz, Samuel B. (A&amp;F)" initials="SF" userId="S::Samuel.B.Fritz@mass.gov::0242f317-a9c7-40e6-a6e6-ebbdcde2729e" providerId="AD"/>
  <p188:author id="{82211E40-2100-E4DA-2CB3-D23B2F7B289F}" name="Strain, Mallory (A&amp;F)" initials="SM" userId="S::mallory.strain@mass.gov::7f2f9c2c-98ee-44e6-afe8-8ea6a9111392" providerId="AD"/>
  <p188:author id="{7656C38B-123D-7A45-6555-0B5EB5ADF1E0}" name="Eynatian, Amy (GOV)" initials="AE" userId="S::Amy.Eynatian@mass.gov::fc93f6e2-70b1-42a6-a830-05a1d5b7bda0" providerId="AD"/>
  <p188:author id="{9DD590AF-D77F-DF04-A9DF-ADAF05034B24}" name="Strain, Mallory (A&amp;F)" initials="MS" userId="S::Mallory.Strain@mass.gov::7f2f9c2c-98ee-44e6-afe8-8ea6a9111392" providerId="AD"/>
  <p188:author id="{9C2D57C9-FCE2-8C2D-7740-E642C96A37CA}" name="Freedman-Gurspan, Raffi M. (A&amp;F)" initials="F(" userId="S::raffi.m.freedman-gurspan@mass.gov::a4264ceb-f17c-46fb-9391-34823f1bd1a4" providerId="AD"/>
  <p188:author id="{8C23C4E1-5A5B-B24F-9C4F-9EC9608C1A99}" name="Jauhar, Mehar (A&amp;F)" initials="" userId="S::Mehar.Jauhar@mass.gov::6b184fc0-f80d-46ab-a4ba-4a5755ad07a6"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F1C301-DDF8-4599-802F-4819E570C9C5}" v="13" dt="2025-10-24T21:07:42.5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microsoft.com/office/2016/11/relationships/changesInfo" Target="changesInfos/changesInfo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Rocca, Robert E. (A&amp;F)" userId="S::robert.e.larocca@mass.gov::ceee8bfd-19b9-4b75-a601-a6435830a151" providerId="AD" clId="Web-{D3581F9D-6ED1-5749-D505-F12E18D71CDE}"/>
    <pc:docChg chg="modSld">
      <pc:chgData name="LaRocca, Robert E. (A&amp;F)" userId="S::robert.e.larocca@mass.gov::ceee8bfd-19b9-4b75-a601-a6435830a151" providerId="AD" clId="Web-{D3581F9D-6ED1-5749-D505-F12E18D71CDE}" dt="2025-10-14T16:27:52.083" v="142" actId="1076"/>
      <pc:docMkLst>
        <pc:docMk/>
      </pc:docMkLst>
      <pc:sldChg chg="modSp">
        <pc:chgData name="LaRocca, Robert E. (A&amp;F)" userId="S::robert.e.larocca@mass.gov::ceee8bfd-19b9-4b75-a601-a6435830a151" providerId="AD" clId="Web-{D3581F9D-6ED1-5749-D505-F12E18D71CDE}" dt="2025-10-14T16:27:52.083" v="142" actId="1076"/>
        <pc:sldMkLst>
          <pc:docMk/>
          <pc:sldMk cId="1840287993" sldId="2147483582"/>
        </pc:sldMkLst>
        <pc:spChg chg="mod">
          <ac:chgData name="LaRocca, Robert E. (A&amp;F)" userId="S::robert.e.larocca@mass.gov::ceee8bfd-19b9-4b75-a601-a6435830a151" providerId="AD" clId="Web-{D3581F9D-6ED1-5749-D505-F12E18D71CDE}" dt="2025-10-14T16:27:47.364" v="141" actId="1076"/>
          <ac:spMkLst>
            <pc:docMk/>
            <pc:sldMk cId="1840287993" sldId="2147483582"/>
            <ac:spMk id="7" creationId="{0C3E94F8-6B06-3211-4F1C-8C46FDAC9CDF}"/>
          </ac:spMkLst>
        </pc:spChg>
        <pc:picChg chg="mod">
          <ac:chgData name="LaRocca, Robert E. (A&amp;F)" userId="S::robert.e.larocca@mass.gov::ceee8bfd-19b9-4b75-a601-a6435830a151" providerId="AD" clId="Web-{D3581F9D-6ED1-5749-D505-F12E18D71CDE}" dt="2025-10-14T16:27:52.083" v="142" actId="1076"/>
          <ac:picMkLst>
            <pc:docMk/>
            <pc:sldMk cId="1840287993" sldId="2147483582"/>
            <ac:picMk id="5" creationId="{CF493BDF-B586-F8DF-04C3-FD47B51E9ECB}"/>
          </ac:picMkLst>
        </pc:picChg>
      </pc:sldChg>
    </pc:docChg>
  </pc:docChgLst>
  <pc:docChgLst>
    <pc:chgData name="Strain, Mallory (A&amp;F)" userId="S::mallory.strain@mass.gov::7f2f9c2c-98ee-44e6-afe8-8ea6a9111392" providerId="AD" clId="Web-{85DD37C7-71A7-C778-82B5-AA60D89B1242}"/>
    <pc:docChg chg="addSld delSld modSld">
      <pc:chgData name="Strain, Mallory (A&amp;F)" userId="S::mallory.strain@mass.gov::7f2f9c2c-98ee-44e6-afe8-8ea6a9111392" providerId="AD" clId="Web-{85DD37C7-71A7-C778-82B5-AA60D89B1242}" dt="2025-06-26T02:06:07.244" v="74"/>
      <pc:docMkLst>
        <pc:docMk/>
      </pc:docMkLst>
      <pc:sldChg chg="addSp modSp">
        <pc:chgData name="Strain, Mallory (A&amp;F)" userId="S::mallory.strain@mass.gov::7f2f9c2c-98ee-44e6-afe8-8ea6a9111392" providerId="AD" clId="Web-{85DD37C7-71A7-C778-82B5-AA60D89B1242}" dt="2025-06-26T01:53:31.075" v="49" actId="14100"/>
        <pc:sldMkLst>
          <pc:docMk/>
          <pc:sldMk cId="3181120436" sldId="2147483527"/>
        </pc:sldMkLst>
      </pc:sldChg>
      <pc:sldChg chg="delSp modSp">
        <pc:chgData name="Strain, Mallory (A&amp;F)" userId="S::mallory.strain@mass.gov::7f2f9c2c-98ee-44e6-afe8-8ea6a9111392" providerId="AD" clId="Web-{85DD37C7-71A7-C778-82B5-AA60D89B1242}" dt="2025-06-26T02:06:07.244" v="74"/>
        <pc:sldMkLst>
          <pc:docMk/>
          <pc:sldMk cId="1238033683" sldId="2147483540"/>
        </pc:sldMkLst>
      </pc:sldChg>
      <pc:sldChg chg="addSp delSp modSp new del">
        <pc:chgData name="Strain, Mallory (A&amp;F)" userId="S::mallory.strain@mass.gov::7f2f9c2c-98ee-44e6-afe8-8ea6a9111392" providerId="AD" clId="Web-{85DD37C7-71A7-C778-82B5-AA60D89B1242}" dt="2025-06-26T01:52:06.435" v="4"/>
        <pc:sldMkLst>
          <pc:docMk/>
          <pc:sldMk cId="2259853042" sldId="2147483548"/>
        </pc:sldMkLst>
      </pc:sldChg>
      <pc:sldChg chg="add del replId">
        <pc:chgData name="Strain, Mallory (A&amp;F)" userId="S::mallory.strain@mass.gov::7f2f9c2c-98ee-44e6-afe8-8ea6a9111392" providerId="AD" clId="Web-{85DD37C7-71A7-C778-82B5-AA60D89B1242}" dt="2025-06-26T01:54:33.856" v="61"/>
        <pc:sldMkLst>
          <pc:docMk/>
          <pc:sldMk cId="1390330382" sldId="2147483549"/>
        </pc:sldMkLst>
      </pc:sldChg>
      <pc:sldChg chg="modSp add replId">
        <pc:chgData name="Strain, Mallory (A&amp;F)" userId="S::mallory.strain@mass.gov::7f2f9c2c-98ee-44e6-afe8-8ea6a9111392" providerId="AD" clId="Web-{85DD37C7-71A7-C778-82B5-AA60D89B1242}" dt="2025-06-26T01:54:26.340" v="60" actId="20577"/>
        <pc:sldMkLst>
          <pc:docMk/>
          <pc:sldMk cId="3473443990" sldId="2147483550"/>
        </pc:sldMkLst>
      </pc:sldChg>
    </pc:docChg>
  </pc:docChgLst>
  <pc:docChgLst>
    <pc:chgData name="Leonarte Paredes, Micaela (A&amp;F)" userId="S::micaela.leonarteparedes@mass.gov::9dd405bc-2413-4d02-bb30-9534b8884de8" providerId="AD" clId="Web-{E107EC8F-5EB8-9ADA-4C07-419EC6E43249}"/>
    <pc:docChg chg="modSld">
      <pc:chgData name="Leonarte Paredes, Micaela (A&amp;F)" userId="S::micaela.leonarteparedes@mass.gov::9dd405bc-2413-4d02-bb30-9534b8884de8" providerId="AD" clId="Web-{E107EC8F-5EB8-9ADA-4C07-419EC6E43249}" dt="2025-06-25T21:49:00.797" v="36"/>
      <pc:docMkLst>
        <pc:docMk/>
      </pc:docMkLst>
      <pc:sldChg chg="addSp delSp modSp">
        <pc:chgData name="Leonarte Paredes, Micaela (A&amp;F)" userId="S::micaela.leonarteparedes@mass.gov::9dd405bc-2413-4d02-bb30-9534b8884de8" providerId="AD" clId="Web-{E107EC8F-5EB8-9ADA-4C07-419EC6E43249}" dt="2025-06-25T21:49:00.797" v="36"/>
        <pc:sldMkLst>
          <pc:docMk/>
          <pc:sldMk cId="3181120436" sldId="2147483527"/>
        </pc:sldMkLst>
      </pc:sldChg>
    </pc:docChg>
  </pc:docChgLst>
  <pc:docChgLst>
    <pc:chgData name="Strain, Mallory (A&amp;F)" userId="S::mallory.strain@mass.gov::7f2f9c2c-98ee-44e6-afe8-8ea6a9111392" providerId="AD" clId="Web-{ACFEA502-5DB7-A38E-84EF-02351E11FBB6}"/>
    <pc:docChg chg="addSld delSld modSld sldOrd">
      <pc:chgData name="Strain, Mallory (A&amp;F)" userId="S::mallory.strain@mass.gov::7f2f9c2c-98ee-44e6-afe8-8ea6a9111392" providerId="AD" clId="Web-{ACFEA502-5DB7-A38E-84EF-02351E11FBB6}" dt="2025-10-14T16:27:20.724" v="275" actId="20577"/>
      <pc:docMkLst>
        <pc:docMk/>
      </pc:docMkLst>
      <pc:sldChg chg="del">
        <pc:chgData name="Strain, Mallory (A&amp;F)" userId="S::mallory.strain@mass.gov::7f2f9c2c-98ee-44e6-afe8-8ea6a9111392" providerId="AD" clId="Web-{ACFEA502-5DB7-A38E-84EF-02351E11FBB6}" dt="2025-10-14T15:40:34.030" v="48"/>
        <pc:sldMkLst>
          <pc:docMk/>
          <pc:sldMk cId="858518792" sldId="2147481265"/>
        </pc:sldMkLst>
      </pc:sldChg>
      <pc:sldChg chg="del">
        <pc:chgData name="Strain, Mallory (A&amp;F)" userId="S::mallory.strain@mass.gov::7f2f9c2c-98ee-44e6-afe8-8ea6a9111392" providerId="AD" clId="Web-{ACFEA502-5DB7-A38E-84EF-02351E11FBB6}" dt="2025-10-14T15:40:37.092" v="49"/>
        <pc:sldMkLst>
          <pc:docMk/>
          <pc:sldMk cId="1300875072" sldId="2147483523"/>
        </pc:sldMkLst>
      </pc:sldChg>
      <pc:sldChg chg="del">
        <pc:chgData name="Strain, Mallory (A&amp;F)" userId="S::mallory.strain@mass.gov::7f2f9c2c-98ee-44e6-afe8-8ea6a9111392" providerId="AD" clId="Web-{ACFEA502-5DB7-A38E-84EF-02351E11FBB6}" dt="2025-10-14T15:40:32.295" v="47"/>
        <pc:sldMkLst>
          <pc:docMk/>
          <pc:sldMk cId="3240210748" sldId="2147483526"/>
        </pc:sldMkLst>
      </pc:sldChg>
      <pc:sldChg chg="addSp delSp modSp">
        <pc:chgData name="Strain, Mallory (A&amp;F)" userId="S::mallory.strain@mass.gov::7f2f9c2c-98ee-44e6-afe8-8ea6a9111392" providerId="AD" clId="Web-{ACFEA502-5DB7-A38E-84EF-02351E11FBB6}" dt="2025-10-14T15:41:25.045" v="59"/>
        <pc:sldMkLst>
          <pc:docMk/>
          <pc:sldMk cId="1238033683" sldId="2147483540"/>
        </pc:sldMkLst>
        <pc:spChg chg="mod">
          <ac:chgData name="Strain, Mallory (A&amp;F)" userId="S::mallory.strain@mass.gov::7f2f9c2c-98ee-44e6-afe8-8ea6a9111392" providerId="AD" clId="Web-{ACFEA502-5DB7-A38E-84EF-02351E11FBB6}" dt="2025-10-14T15:36:05.361" v="46" actId="20577"/>
          <ac:spMkLst>
            <pc:docMk/>
            <pc:sldMk cId="1238033683" sldId="2147483540"/>
            <ac:spMk id="9" creationId="{768BA126-FB10-CA43-4107-F6ACEA3AFF15}"/>
          </ac:spMkLst>
        </pc:spChg>
        <pc:graphicFrameChg chg="add del mod">
          <ac:chgData name="Strain, Mallory (A&amp;F)" userId="S::mallory.strain@mass.gov::7f2f9c2c-98ee-44e6-afe8-8ea6a9111392" providerId="AD" clId="Web-{ACFEA502-5DB7-A38E-84EF-02351E11FBB6}" dt="2025-10-14T15:41:20.420" v="51"/>
          <ac:graphicFrameMkLst>
            <pc:docMk/>
            <pc:sldMk cId="1238033683" sldId="2147483540"/>
            <ac:graphicFrameMk id="3" creationId="{4C998E5E-F98E-2158-A628-3049C9DCBB3F}"/>
          </ac:graphicFrameMkLst>
        </pc:graphicFrameChg>
        <pc:graphicFrameChg chg="mod modGraphic">
          <ac:chgData name="Strain, Mallory (A&amp;F)" userId="S::mallory.strain@mass.gov::7f2f9c2c-98ee-44e6-afe8-8ea6a9111392" providerId="AD" clId="Web-{ACFEA502-5DB7-A38E-84EF-02351E11FBB6}" dt="2025-10-14T15:41:25.045" v="59"/>
          <ac:graphicFrameMkLst>
            <pc:docMk/>
            <pc:sldMk cId="1238033683" sldId="2147483540"/>
            <ac:graphicFrameMk id="6" creationId="{6A6980E1-34F0-6FB4-7B9D-EBB8D9A4230E}"/>
          </ac:graphicFrameMkLst>
        </pc:graphicFrameChg>
      </pc:sldChg>
      <pc:sldChg chg="addSp delSp modSp new">
        <pc:chgData name="Strain, Mallory (A&amp;F)" userId="S::mallory.strain@mass.gov::7f2f9c2c-98ee-44e6-afe8-8ea6a9111392" providerId="AD" clId="Web-{ACFEA502-5DB7-A38E-84EF-02351E11FBB6}" dt="2025-10-14T16:19:57.183" v="252" actId="20577"/>
        <pc:sldMkLst>
          <pc:docMk/>
          <pc:sldMk cId="1840287993" sldId="2147483582"/>
        </pc:sldMkLst>
        <pc:spChg chg="mod">
          <ac:chgData name="Strain, Mallory (A&amp;F)" userId="S::mallory.strain@mass.gov::7f2f9c2c-98ee-44e6-afe8-8ea6a9111392" providerId="AD" clId="Web-{ACFEA502-5DB7-A38E-84EF-02351E11FBB6}" dt="2025-10-14T16:11:41.326" v="72" actId="20577"/>
          <ac:spMkLst>
            <pc:docMk/>
            <pc:sldMk cId="1840287993" sldId="2147483582"/>
            <ac:spMk id="2" creationId="{882F9792-4C72-9682-58FA-55E70BD23DBA}"/>
          </ac:spMkLst>
        </pc:spChg>
        <pc:spChg chg="del mod">
          <ac:chgData name="Strain, Mallory (A&amp;F)" userId="S::mallory.strain@mass.gov::7f2f9c2c-98ee-44e6-afe8-8ea6a9111392" providerId="AD" clId="Web-{ACFEA502-5DB7-A38E-84EF-02351E11FBB6}" dt="2025-10-14T16:14:05.997" v="74"/>
          <ac:spMkLst>
            <pc:docMk/>
            <pc:sldMk cId="1840287993" sldId="2147483582"/>
            <ac:spMk id="3" creationId="{33C12B34-4543-23DE-7C6C-5D8F7E1D6431}"/>
          </ac:spMkLst>
        </pc:spChg>
        <pc:spChg chg="add mod">
          <ac:chgData name="Strain, Mallory (A&amp;F)" userId="S::mallory.strain@mass.gov::7f2f9c2c-98ee-44e6-afe8-8ea6a9111392" providerId="AD" clId="Web-{ACFEA502-5DB7-A38E-84EF-02351E11FBB6}" dt="2025-10-14T16:19:57.183" v="252" actId="20577"/>
          <ac:spMkLst>
            <pc:docMk/>
            <pc:sldMk cId="1840287993" sldId="2147483582"/>
            <ac:spMk id="7" creationId="{0C3E94F8-6B06-3211-4F1C-8C46FDAC9CDF}"/>
          </ac:spMkLst>
        </pc:spChg>
        <pc:picChg chg="add del mod ord">
          <ac:chgData name="Strain, Mallory (A&amp;F)" userId="S::mallory.strain@mass.gov::7f2f9c2c-98ee-44e6-afe8-8ea6a9111392" providerId="AD" clId="Web-{ACFEA502-5DB7-A38E-84EF-02351E11FBB6}" dt="2025-10-14T16:18:13.996" v="79"/>
          <ac:picMkLst>
            <pc:docMk/>
            <pc:sldMk cId="1840287993" sldId="2147483582"/>
            <ac:picMk id="4" creationId="{194AE4D4-264C-EC02-C46B-61D7279930D2}"/>
          </ac:picMkLst>
        </pc:picChg>
        <pc:picChg chg="add mod">
          <ac:chgData name="Strain, Mallory (A&amp;F)" userId="S::mallory.strain@mass.gov::7f2f9c2c-98ee-44e6-afe8-8ea6a9111392" providerId="AD" clId="Web-{ACFEA502-5DB7-A38E-84EF-02351E11FBB6}" dt="2025-10-14T16:18:22.059" v="83" actId="14100"/>
          <ac:picMkLst>
            <pc:docMk/>
            <pc:sldMk cId="1840287993" sldId="2147483582"/>
            <ac:picMk id="5" creationId="{CF493BDF-B586-F8DF-04C3-FD47B51E9ECB}"/>
          </ac:picMkLst>
        </pc:picChg>
      </pc:sldChg>
      <pc:sldChg chg="modSp new del ord">
        <pc:chgData name="Strain, Mallory (A&amp;F)" userId="S::mallory.strain@mass.gov::7f2f9c2c-98ee-44e6-afe8-8ea6a9111392" providerId="AD" clId="Web-{ACFEA502-5DB7-A38E-84EF-02351E11FBB6}" dt="2025-10-14T15:35:55.548" v="21"/>
        <pc:sldMkLst>
          <pc:docMk/>
          <pc:sldMk cId="4166438578" sldId="2147483582"/>
        </pc:sldMkLst>
        <pc:spChg chg="mod">
          <ac:chgData name="Strain, Mallory (A&amp;F)" userId="S::mallory.strain@mass.gov::7f2f9c2c-98ee-44e6-afe8-8ea6a9111392" providerId="AD" clId="Web-{ACFEA502-5DB7-A38E-84EF-02351E11FBB6}" dt="2025-10-14T15:34:54.611" v="20" actId="20577"/>
          <ac:spMkLst>
            <pc:docMk/>
            <pc:sldMk cId="4166438578" sldId="2147483582"/>
            <ac:spMk id="2" creationId="{E7D96E08-F867-C8BC-17D1-D1776DD2428C}"/>
          </ac:spMkLst>
        </pc:spChg>
      </pc:sldChg>
      <pc:sldChg chg="modSp new">
        <pc:chgData name="Strain, Mallory (A&amp;F)" userId="S::mallory.strain@mass.gov::7f2f9c2c-98ee-44e6-afe8-8ea6a9111392" providerId="AD" clId="Web-{ACFEA502-5DB7-A38E-84EF-02351E11FBB6}" dt="2025-10-14T16:27:20.724" v="275" actId="20577"/>
        <pc:sldMkLst>
          <pc:docMk/>
          <pc:sldMk cId="4110600579" sldId="2147483583"/>
        </pc:sldMkLst>
        <pc:spChg chg="mod">
          <ac:chgData name="Strain, Mallory (A&amp;F)" userId="S::mallory.strain@mass.gov::7f2f9c2c-98ee-44e6-afe8-8ea6a9111392" providerId="AD" clId="Web-{ACFEA502-5DB7-A38E-84EF-02351E11FBB6}" dt="2025-10-14T16:27:20.724" v="275" actId="20577"/>
          <ac:spMkLst>
            <pc:docMk/>
            <pc:sldMk cId="4110600579" sldId="2147483583"/>
            <ac:spMk id="2" creationId="{47067CD1-7FB7-3939-5261-6D9FEAA60F96}"/>
          </ac:spMkLst>
        </pc:spChg>
      </pc:sldChg>
    </pc:docChg>
  </pc:docChgLst>
  <pc:docChgLst>
    <pc:chgData name="LaRocca, Robert E. (A&amp;F)" userId="S::robert.e.larocca@mass.gov::ceee8bfd-19b9-4b75-a601-a6435830a151" providerId="AD" clId="Web-{C19B6A52-F625-F7ED-B9FE-CD6FA2F5DC8E}"/>
    <pc:docChg chg="modSld">
      <pc:chgData name="LaRocca, Robert E. (A&amp;F)" userId="S::robert.e.larocca@mass.gov::ceee8bfd-19b9-4b75-a601-a6435830a151" providerId="AD" clId="Web-{C19B6A52-F625-F7ED-B9FE-CD6FA2F5DC8E}" dt="2025-10-14T19:40:35.450" v="41" actId="20577"/>
      <pc:docMkLst>
        <pc:docMk/>
      </pc:docMkLst>
      <pc:sldChg chg="modSp">
        <pc:chgData name="LaRocca, Robert E. (A&amp;F)" userId="S::robert.e.larocca@mass.gov::ceee8bfd-19b9-4b75-a601-a6435830a151" providerId="AD" clId="Web-{C19B6A52-F625-F7ED-B9FE-CD6FA2F5DC8E}" dt="2025-10-14T19:40:35.450" v="41" actId="20577"/>
        <pc:sldMkLst>
          <pc:docMk/>
          <pc:sldMk cId="1840287993" sldId="2147483582"/>
        </pc:sldMkLst>
        <pc:spChg chg="mod">
          <ac:chgData name="LaRocca, Robert E. (A&amp;F)" userId="S::robert.e.larocca@mass.gov::ceee8bfd-19b9-4b75-a601-a6435830a151" providerId="AD" clId="Web-{C19B6A52-F625-F7ED-B9FE-CD6FA2F5DC8E}" dt="2025-10-14T19:40:35.450" v="41" actId="20577"/>
          <ac:spMkLst>
            <pc:docMk/>
            <pc:sldMk cId="1840287993" sldId="2147483582"/>
            <ac:spMk id="7" creationId="{0C3E94F8-6B06-3211-4F1C-8C46FDAC9CDF}"/>
          </ac:spMkLst>
        </pc:spChg>
      </pc:sldChg>
    </pc:docChg>
  </pc:docChgLst>
  <pc:docChgLst>
    <pc:chgData name="Jauhar, Mehar (A&amp;F)" userId="6b184fc0-f80d-46ab-a4ba-4a5755ad07a6" providerId="ADAL" clId="{05944E5C-DB2E-2C4F-B90B-915A3C507641}"/>
    <pc:docChg chg="undo custSel addSld delSld modSld delMainMaster">
      <pc:chgData name="Jauhar, Mehar (A&amp;F)" userId="6b184fc0-f80d-46ab-a4ba-4a5755ad07a6" providerId="ADAL" clId="{05944E5C-DB2E-2C4F-B90B-915A3C507641}" dt="2025-10-14T14:07:28.379" v="410"/>
      <pc:docMkLst>
        <pc:docMk/>
      </pc:docMkLst>
      <pc:sldChg chg="modSp mod">
        <pc:chgData name="Jauhar, Mehar (A&amp;F)" userId="6b184fc0-f80d-46ab-a4ba-4a5755ad07a6" providerId="ADAL" clId="{05944E5C-DB2E-2C4F-B90B-915A3C507641}" dt="2025-10-14T13:23:38.854" v="69" actId="13926"/>
        <pc:sldMkLst>
          <pc:docMk/>
          <pc:sldMk cId="1869192741" sldId="257"/>
        </pc:sldMkLst>
        <pc:spChg chg="mod">
          <ac:chgData name="Jauhar, Mehar (A&amp;F)" userId="6b184fc0-f80d-46ab-a4ba-4a5755ad07a6" providerId="ADAL" clId="{05944E5C-DB2E-2C4F-B90B-915A3C507641}" dt="2025-10-14T13:23:38.854" v="69" actId="13926"/>
          <ac:spMkLst>
            <pc:docMk/>
            <pc:sldMk cId="1869192741" sldId="257"/>
            <ac:spMk id="3" creationId="{6BF96C16-BDB2-15EE-4778-FA5D2DB3A873}"/>
          </ac:spMkLst>
        </pc:spChg>
      </pc:sldChg>
      <pc:sldChg chg="add">
        <pc:chgData name="Jauhar, Mehar (A&amp;F)" userId="6b184fc0-f80d-46ab-a4ba-4a5755ad07a6" providerId="ADAL" clId="{05944E5C-DB2E-2C4F-B90B-915A3C507641}" dt="2025-10-14T14:07:28.379" v="410"/>
        <pc:sldMkLst>
          <pc:docMk/>
          <pc:sldMk cId="1603070670" sldId="258"/>
        </pc:sldMkLst>
      </pc:sldChg>
      <pc:sldChg chg="del">
        <pc:chgData name="Jauhar, Mehar (A&amp;F)" userId="6b184fc0-f80d-46ab-a4ba-4a5755ad07a6" providerId="ADAL" clId="{05944E5C-DB2E-2C4F-B90B-915A3C507641}" dt="2025-10-14T13:58:28.750" v="401" actId="2696"/>
        <pc:sldMkLst>
          <pc:docMk/>
          <pc:sldMk cId="1795036596" sldId="258"/>
        </pc:sldMkLst>
      </pc:sldChg>
      <pc:sldChg chg="del">
        <pc:chgData name="Jauhar, Mehar (A&amp;F)" userId="6b184fc0-f80d-46ab-a4ba-4a5755ad07a6" providerId="ADAL" clId="{05944E5C-DB2E-2C4F-B90B-915A3C507641}" dt="2025-10-14T13:58:38.265" v="407" actId="2696"/>
        <pc:sldMkLst>
          <pc:docMk/>
          <pc:sldMk cId="2254853881" sldId="264"/>
        </pc:sldMkLst>
      </pc:sldChg>
      <pc:sldChg chg="del">
        <pc:chgData name="Jauhar, Mehar (A&amp;F)" userId="6b184fc0-f80d-46ab-a4ba-4a5755ad07a6" providerId="ADAL" clId="{05944E5C-DB2E-2C4F-B90B-915A3C507641}" dt="2025-10-14T13:58:42.006" v="408" actId="2696"/>
        <pc:sldMkLst>
          <pc:docMk/>
          <pc:sldMk cId="381138915" sldId="273"/>
        </pc:sldMkLst>
      </pc:sldChg>
      <pc:sldChg chg="modSp mod">
        <pc:chgData name="Jauhar, Mehar (A&amp;F)" userId="6b184fc0-f80d-46ab-a4ba-4a5755ad07a6" providerId="ADAL" clId="{05944E5C-DB2E-2C4F-B90B-915A3C507641}" dt="2025-10-14T13:57:55.830" v="399"/>
        <pc:sldMkLst>
          <pc:docMk/>
          <pc:sldMk cId="3126995564" sldId="276"/>
        </pc:sldMkLst>
        <pc:spChg chg="mod">
          <ac:chgData name="Jauhar, Mehar (A&amp;F)" userId="6b184fc0-f80d-46ab-a4ba-4a5755ad07a6" providerId="ADAL" clId="{05944E5C-DB2E-2C4F-B90B-915A3C507641}" dt="2025-10-14T13:52:56.719" v="397" actId="13926"/>
          <ac:spMkLst>
            <pc:docMk/>
            <pc:sldMk cId="3126995564" sldId="276"/>
            <ac:spMk id="2" creationId="{E7C586B0-AF86-A515-AEE0-C8269027D96C}"/>
          </ac:spMkLst>
        </pc:spChg>
        <pc:graphicFrameChg chg="mod">
          <ac:chgData name="Jauhar, Mehar (A&amp;F)" userId="6b184fc0-f80d-46ab-a4ba-4a5755ad07a6" providerId="ADAL" clId="{05944E5C-DB2E-2C4F-B90B-915A3C507641}" dt="2025-10-14T13:57:55.830" v="399"/>
          <ac:graphicFrameMkLst>
            <pc:docMk/>
            <pc:sldMk cId="3126995564" sldId="276"/>
            <ac:graphicFrameMk id="4" creationId="{BCAF1A5D-AAF4-A5C2-F609-471FBC3134D9}"/>
          </ac:graphicFrameMkLst>
        </pc:graphicFrameChg>
      </pc:sldChg>
      <pc:sldChg chg="del">
        <pc:chgData name="Jauhar, Mehar (A&amp;F)" userId="6b184fc0-f80d-46ab-a4ba-4a5755ad07a6" providerId="ADAL" clId="{05944E5C-DB2E-2C4F-B90B-915A3C507641}" dt="2025-10-14T13:58:31.946" v="405" actId="2696"/>
        <pc:sldMkLst>
          <pc:docMk/>
          <pc:sldMk cId="616471570" sldId="280"/>
        </pc:sldMkLst>
      </pc:sldChg>
      <pc:sldChg chg="del">
        <pc:chgData name="Jauhar, Mehar (A&amp;F)" userId="6b184fc0-f80d-46ab-a4ba-4a5755ad07a6" providerId="ADAL" clId="{05944E5C-DB2E-2C4F-B90B-915A3C507641}" dt="2025-10-14T13:58:32.549" v="406" actId="2696"/>
        <pc:sldMkLst>
          <pc:docMk/>
          <pc:sldMk cId="2128533522" sldId="289"/>
        </pc:sldMkLst>
      </pc:sldChg>
      <pc:sldChg chg="add del">
        <pc:chgData name="Jauhar, Mehar (A&amp;F)" userId="6b184fc0-f80d-46ab-a4ba-4a5755ad07a6" providerId="ADAL" clId="{05944E5C-DB2E-2C4F-B90B-915A3C507641}" dt="2025-10-14T13:33:10.351" v="210" actId="2696"/>
        <pc:sldMkLst>
          <pc:docMk/>
          <pc:sldMk cId="2699097688" sldId="293"/>
        </pc:sldMkLst>
      </pc:sldChg>
      <pc:sldChg chg="add del">
        <pc:chgData name="Jauhar, Mehar (A&amp;F)" userId="6b184fc0-f80d-46ab-a4ba-4a5755ad07a6" providerId="ADAL" clId="{05944E5C-DB2E-2C4F-B90B-915A3C507641}" dt="2025-10-14T13:35:05.967" v="233" actId="2696"/>
        <pc:sldMkLst>
          <pc:docMk/>
          <pc:sldMk cId="1485772048" sldId="294"/>
        </pc:sldMkLst>
      </pc:sldChg>
      <pc:sldChg chg="addSp delSp modSp mod">
        <pc:chgData name="Jauhar, Mehar (A&amp;F)" userId="6b184fc0-f80d-46ab-a4ba-4a5755ad07a6" providerId="ADAL" clId="{05944E5C-DB2E-2C4F-B90B-915A3C507641}" dt="2025-10-14T13:51:28.478" v="345" actId="1076"/>
        <pc:sldMkLst>
          <pc:docMk/>
          <pc:sldMk cId="3958492819" sldId="2147483486"/>
        </pc:sldMkLst>
        <pc:spChg chg="del">
          <ac:chgData name="Jauhar, Mehar (A&amp;F)" userId="6b184fc0-f80d-46ab-a4ba-4a5755ad07a6" providerId="ADAL" clId="{05944E5C-DB2E-2C4F-B90B-915A3C507641}" dt="2025-10-14T13:47:33.122" v="327" actId="478"/>
          <ac:spMkLst>
            <pc:docMk/>
            <pc:sldMk cId="3958492819" sldId="2147483486"/>
            <ac:spMk id="5" creationId="{E331791A-D001-52DC-1AEE-E0BCCC4DFECA}"/>
          </ac:spMkLst>
        </pc:spChg>
        <pc:spChg chg="add mod">
          <ac:chgData name="Jauhar, Mehar (A&amp;F)" userId="6b184fc0-f80d-46ab-a4ba-4a5755ad07a6" providerId="ADAL" clId="{05944E5C-DB2E-2C4F-B90B-915A3C507641}" dt="2025-10-14T13:50:59.131" v="343" actId="14100"/>
          <ac:spMkLst>
            <pc:docMk/>
            <pc:sldMk cId="3958492819" sldId="2147483486"/>
            <ac:spMk id="9" creationId="{ACC1170C-707E-BAD2-60D7-74821CD402B3}"/>
          </ac:spMkLst>
        </pc:spChg>
        <pc:spChg chg="mod">
          <ac:chgData name="Jauhar, Mehar (A&amp;F)" userId="6b184fc0-f80d-46ab-a4ba-4a5755ad07a6" providerId="ADAL" clId="{05944E5C-DB2E-2C4F-B90B-915A3C507641}" dt="2025-10-14T13:47:09.505" v="308" actId="1076"/>
          <ac:spMkLst>
            <pc:docMk/>
            <pc:sldMk cId="3958492819" sldId="2147483486"/>
            <ac:spMk id="23" creationId="{CE3408A6-3D3D-C3C8-66DB-717F76F266B6}"/>
          </ac:spMkLst>
        </pc:spChg>
        <pc:spChg chg="del">
          <ac:chgData name="Jauhar, Mehar (A&amp;F)" userId="6b184fc0-f80d-46ab-a4ba-4a5755ad07a6" providerId="ADAL" clId="{05944E5C-DB2E-2C4F-B90B-915A3C507641}" dt="2025-10-14T13:46:55.696" v="306" actId="478"/>
          <ac:spMkLst>
            <pc:docMk/>
            <pc:sldMk cId="3958492819" sldId="2147483486"/>
            <ac:spMk id="25" creationId="{DA8E3E83-0A13-9A08-9C7A-0BF7CF41FAD1}"/>
          </ac:spMkLst>
        </pc:spChg>
        <pc:spChg chg="mod">
          <ac:chgData name="Jauhar, Mehar (A&amp;F)" userId="6b184fc0-f80d-46ab-a4ba-4a5755ad07a6" providerId="ADAL" clId="{05944E5C-DB2E-2C4F-B90B-915A3C507641}" dt="2025-10-14T13:47:37.168" v="329" actId="1076"/>
          <ac:spMkLst>
            <pc:docMk/>
            <pc:sldMk cId="3958492819" sldId="2147483486"/>
            <ac:spMk id="27" creationId="{898DE8B0-12D1-D134-F268-16B7F60CA029}"/>
          </ac:spMkLst>
        </pc:spChg>
        <pc:spChg chg="mod">
          <ac:chgData name="Jauhar, Mehar (A&amp;F)" userId="6b184fc0-f80d-46ab-a4ba-4a5755ad07a6" providerId="ADAL" clId="{05944E5C-DB2E-2C4F-B90B-915A3C507641}" dt="2025-10-14T13:48:13.545" v="334" actId="1076"/>
          <ac:spMkLst>
            <pc:docMk/>
            <pc:sldMk cId="3958492819" sldId="2147483486"/>
            <ac:spMk id="32" creationId="{2DFFF345-756C-4593-9810-3C232BD81C18}"/>
          </ac:spMkLst>
        </pc:spChg>
        <pc:picChg chg="add del mod">
          <ac:chgData name="Jauhar, Mehar (A&amp;F)" userId="6b184fc0-f80d-46ab-a4ba-4a5755ad07a6" providerId="ADAL" clId="{05944E5C-DB2E-2C4F-B90B-915A3C507641}" dt="2025-10-14T13:50:08.742" v="340" actId="478"/>
          <ac:picMkLst>
            <pc:docMk/>
            <pc:sldMk cId="3958492819" sldId="2147483486"/>
            <ac:picMk id="3" creationId="{E360A603-27FC-1C87-117D-DCC8AD9EA48C}"/>
          </ac:picMkLst>
        </pc:picChg>
        <pc:picChg chg="del">
          <ac:chgData name="Jauhar, Mehar (A&amp;F)" userId="6b184fc0-f80d-46ab-a4ba-4a5755ad07a6" providerId="ADAL" clId="{05944E5C-DB2E-2C4F-B90B-915A3C507641}" dt="2025-10-14T13:47:33.987" v="328" actId="478"/>
          <ac:picMkLst>
            <pc:docMk/>
            <pc:sldMk cId="3958492819" sldId="2147483486"/>
            <ac:picMk id="4" creationId="{A4DDE023-0104-BA9C-9A45-E6BA96480EA5}"/>
          </ac:picMkLst>
        </pc:picChg>
        <pc:picChg chg="mod">
          <ac:chgData name="Jauhar, Mehar (A&amp;F)" userId="6b184fc0-f80d-46ab-a4ba-4a5755ad07a6" providerId="ADAL" clId="{05944E5C-DB2E-2C4F-B90B-915A3C507641}" dt="2025-10-14T13:47:41.183" v="330" actId="1076"/>
          <ac:picMkLst>
            <pc:docMk/>
            <pc:sldMk cId="3958492819" sldId="2147483486"/>
            <ac:picMk id="10" creationId="{D2C900EA-EC91-6530-683B-537C743085F1}"/>
          </ac:picMkLst>
        </pc:picChg>
        <pc:picChg chg="add mod">
          <ac:chgData name="Jauhar, Mehar (A&amp;F)" userId="6b184fc0-f80d-46ab-a4ba-4a5755ad07a6" providerId="ADAL" clId="{05944E5C-DB2E-2C4F-B90B-915A3C507641}" dt="2025-10-14T13:51:28.478" v="345" actId="1076"/>
          <ac:picMkLst>
            <pc:docMk/>
            <pc:sldMk cId="3958492819" sldId="2147483486"/>
            <ac:picMk id="11" creationId="{0EA67C0F-04F3-13AF-1B2D-9370C5A0A10B}"/>
          </ac:picMkLst>
        </pc:picChg>
        <pc:picChg chg="del mod">
          <ac:chgData name="Jauhar, Mehar (A&amp;F)" userId="6b184fc0-f80d-46ab-a4ba-4a5755ad07a6" providerId="ADAL" clId="{05944E5C-DB2E-2C4F-B90B-915A3C507641}" dt="2025-10-14T13:48:24.232" v="336" actId="478"/>
          <ac:picMkLst>
            <pc:docMk/>
            <pc:sldMk cId="3958492819" sldId="2147483486"/>
            <ac:picMk id="24" creationId="{0E40C948-516B-5A96-CB45-4B1E514CCCBC}"/>
          </ac:picMkLst>
        </pc:picChg>
        <pc:picChg chg="del">
          <ac:chgData name="Jauhar, Mehar (A&amp;F)" userId="6b184fc0-f80d-46ab-a4ba-4a5755ad07a6" providerId="ADAL" clId="{05944E5C-DB2E-2C4F-B90B-915A3C507641}" dt="2025-10-14T13:46:54.713" v="305" actId="478"/>
          <ac:picMkLst>
            <pc:docMk/>
            <pc:sldMk cId="3958492819" sldId="2147483486"/>
            <ac:picMk id="26" creationId="{A5C7F27F-8EF8-15BC-BBCB-A51046B07BD4}"/>
          </ac:picMkLst>
        </pc:picChg>
        <pc:picChg chg="mod">
          <ac:chgData name="Jauhar, Mehar (A&amp;F)" userId="6b184fc0-f80d-46ab-a4ba-4a5755ad07a6" providerId="ADAL" clId="{05944E5C-DB2E-2C4F-B90B-915A3C507641}" dt="2025-10-14T13:48:19.032" v="335" actId="1076"/>
          <ac:picMkLst>
            <pc:docMk/>
            <pc:sldMk cId="3958492819" sldId="2147483486"/>
            <ac:picMk id="34" creationId="{C1EC7EFC-965B-494A-88A8-0DE8164968DC}"/>
          </ac:picMkLst>
        </pc:picChg>
      </pc:sldChg>
      <pc:sldChg chg="modSp mod modCm">
        <pc:chgData name="Jauhar, Mehar (A&amp;F)" userId="6b184fc0-f80d-46ab-a4ba-4a5755ad07a6" providerId="ADAL" clId="{05944E5C-DB2E-2C4F-B90B-915A3C507641}" dt="2025-10-14T13:26:58.880" v="154" actId="5793"/>
        <pc:sldMkLst>
          <pc:docMk/>
          <pc:sldMk cId="75659367" sldId="2147483522"/>
        </pc:sldMkLst>
        <pc:spChg chg="mod">
          <ac:chgData name="Jauhar, Mehar (A&amp;F)" userId="6b184fc0-f80d-46ab-a4ba-4a5755ad07a6" providerId="ADAL" clId="{05944E5C-DB2E-2C4F-B90B-915A3C507641}" dt="2025-10-14T13:26:58.880" v="154" actId="5793"/>
          <ac:spMkLst>
            <pc:docMk/>
            <pc:sldMk cId="75659367" sldId="2147483522"/>
            <ac:spMk id="11" creationId="{C99D162D-B2EC-B50A-919C-1363298DF8EA}"/>
          </ac:spMkLst>
        </pc:spChg>
        <pc:extLst>
          <p:ext xmlns:p="http://schemas.openxmlformats.org/presentationml/2006/main" uri="{D6D511B9-2390-475A-947B-AFAB55BFBCF1}">
            <pc226:cmChg xmlns:pc226="http://schemas.microsoft.com/office/powerpoint/2022/06/main/command" chg="mod">
              <pc226:chgData name="Jauhar, Mehar (A&amp;F)" userId="6b184fc0-f80d-46ab-a4ba-4a5755ad07a6" providerId="ADAL" clId="{05944E5C-DB2E-2C4F-B90B-915A3C507641}" dt="2025-10-14T13:26:58.861" v="153" actId="20577"/>
              <pc2:cmMkLst xmlns:pc2="http://schemas.microsoft.com/office/powerpoint/2019/9/main/command">
                <pc:docMk/>
                <pc:sldMk cId="75659367" sldId="2147483522"/>
                <pc2:cmMk id="{EB640932-2AD3-7741-BC85-73F5D6293EF3}"/>
              </pc2:cmMkLst>
            </pc226:cmChg>
          </p:ext>
        </pc:extLst>
      </pc:sldChg>
      <pc:sldChg chg="addSp delSp modSp mod">
        <pc:chgData name="Jauhar, Mehar (A&amp;F)" userId="6b184fc0-f80d-46ab-a4ba-4a5755ad07a6" providerId="ADAL" clId="{05944E5C-DB2E-2C4F-B90B-915A3C507641}" dt="2025-10-14T13:28:11.360" v="191" actId="20577"/>
        <pc:sldMkLst>
          <pc:docMk/>
          <pc:sldMk cId="4156858417" sldId="2147483524"/>
        </pc:sldMkLst>
        <pc:spChg chg="add del mod">
          <ac:chgData name="Jauhar, Mehar (A&amp;F)" userId="6b184fc0-f80d-46ab-a4ba-4a5755ad07a6" providerId="ADAL" clId="{05944E5C-DB2E-2C4F-B90B-915A3C507641}" dt="2025-10-14T13:28:11.360" v="191" actId="20577"/>
          <ac:spMkLst>
            <pc:docMk/>
            <pc:sldMk cId="4156858417" sldId="2147483524"/>
            <ac:spMk id="11" creationId="{E1657694-30F0-93EC-A229-A63FCE0C1355}"/>
          </ac:spMkLst>
        </pc:spChg>
      </pc:sldChg>
      <pc:sldChg chg="del">
        <pc:chgData name="Jauhar, Mehar (A&amp;F)" userId="6b184fc0-f80d-46ab-a4ba-4a5755ad07a6" providerId="ADAL" clId="{05944E5C-DB2E-2C4F-B90B-915A3C507641}" dt="2025-10-14T13:58:30.865" v="404" actId="2696"/>
        <pc:sldMkLst>
          <pc:docMk/>
          <pc:sldMk cId="1599828002" sldId="2147483525"/>
        </pc:sldMkLst>
      </pc:sldChg>
      <pc:sldChg chg="del">
        <pc:chgData name="Jauhar, Mehar (A&amp;F)" userId="6b184fc0-f80d-46ab-a4ba-4a5755ad07a6" providerId="ADAL" clId="{05944E5C-DB2E-2C4F-B90B-915A3C507641}" dt="2025-10-14T13:58:27.880" v="400" actId="2696"/>
        <pc:sldMkLst>
          <pc:docMk/>
          <pc:sldMk cId="3119383660" sldId="2147483535"/>
        </pc:sldMkLst>
      </pc:sldChg>
      <pc:sldChg chg="del">
        <pc:chgData name="Jauhar, Mehar (A&amp;F)" userId="6b184fc0-f80d-46ab-a4ba-4a5755ad07a6" providerId="ADAL" clId="{05944E5C-DB2E-2C4F-B90B-915A3C507641}" dt="2025-10-14T13:58:29.287" v="402" actId="2696"/>
        <pc:sldMkLst>
          <pc:docMk/>
          <pc:sldMk cId="4144160472" sldId="2147483536"/>
        </pc:sldMkLst>
      </pc:sldChg>
      <pc:sldChg chg="modSp del mod">
        <pc:chgData name="Jauhar, Mehar (A&amp;F)" userId="6b184fc0-f80d-46ab-a4ba-4a5755ad07a6" providerId="ADAL" clId="{05944E5C-DB2E-2C4F-B90B-915A3C507641}" dt="2025-10-14T13:58:29.884" v="403" actId="2696"/>
        <pc:sldMkLst>
          <pc:docMk/>
          <pc:sldMk cId="2937260740" sldId="2147483544"/>
        </pc:sldMkLst>
        <pc:spChg chg="mod">
          <ac:chgData name="Jauhar, Mehar (A&amp;F)" userId="6b184fc0-f80d-46ab-a4ba-4a5755ad07a6" providerId="ADAL" clId="{05944E5C-DB2E-2C4F-B90B-915A3C507641}" dt="2025-10-14T13:29:40.978" v="193" actId="27636"/>
          <ac:spMkLst>
            <pc:docMk/>
            <pc:sldMk cId="2937260740" sldId="2147483544"/>
            <ac:spMk id="39" creationId="{64E381FF-57CC-0E28-7D42-5D1BE7D909D5}"/>
          </ac:spMkLst>
        </pc:spChg>
      </pc:sldChg>
      <pc:sldChg chg="modSp mod">
        <pc:chgData name="Jauhar, Mehar (A&amp;F)" userId="6b184fc0-f80d-46ab-a4ba-4a5755ad07a6" providerId="ADAL" clId="{05944E5C-DB2E-2C4F-B90B-915A3C507641}" dt="2025-10-14T13:41:47.702" v="270" actId="20577"/>
        <pc:sldMkLst>
          <pc:docMk/>
          <pc:sldMk cId="1403604722" sldId="2147483545"/>
        </pc:sldMkLst>
        <pc:spChg chg="mod">
          <ac:chgData name="Jauhar, Mehar (A&amp;F)" userId="6b184fc0-f80d-46ab-a4ba-4a5755ad07a6" providerId="ADAL" clId="{05944E5C-DB2E-2C4F-B90B-915A3C507641}" dt="2025-10-14T13:41:47.702" v="270" actId="20577"/>
          <ac:spMkLst>
            <pc:docMk/>
            <pc:sldMk cId="1403604722" sldId="2147483545"/>
            <ac:spMk id="16" creationId="{C1E870C5-37B9-F0CB-E8F5-BCA57428FB08}"/>
          </ac:spMkLst>
        </pc:spChg>
      </pc:sldChg>
      <pc:sldChg chg="add del">
        <pc:chgData name="Jauhar, Mehar (A&amp;F)" userId="6b184fc0-f80d-46ab-a4ba-4a5755ad07a6" providerId="ADAL" clId="{05944E5C-DB2E-2C4F-B90B-915A3C507641}" dt="2025-10-14T13:38:25.397" v="259" actId="2696"/>
        <pc:sldMkLst>
          <pc:docMk/>
          <pc:sldMk cId="352406151" sldId="2147483578"/>
        </pc:sldMkLst>
      </pc:sldChg>
      <pc:sldChg chg="addSp delSp add del setBg delDesignElem">
        <pc:chgData name="Jauhar, Mehar (A&amp;F)" userId="6b184fc0-f80d-46ab-a4ba-4a5755ad07a6" providerId="ADAL" clId="{05944E5C-DB2E-2C4F-B90B-915A3C507641}" dt="2025-10-14T13:29:49.212" v="196"/>
        <pc:sldMkLst>
          <pc:docMk/>
          <pc:sldMk cId="821502453" sldId="2147483579"/>
        </pc:sldMkLst>
        <pc:spChg chg="add del">
          <ac:chgData name="Jauhar, Mehar (A&amp;F)" userId="6b184fc0-f80d-46ab-a4ba-4a5755ad07a6" providerId="ADAL" clId="{05944E5C-DB2E-2C4F-B90B-915A3C507641}" dt="2025-10-14T13:29:49.212" v="196"/>
          <ac:spMkLst>
            <pc:docMk/>
            <pc:sldMk cId="821502453" sldId="2147483579"/>
            <ac:spMk id="8" creationId="{C05EFD52-A615-1FAA-94A2-58BC5ED83AAD}"/>
          </ac:spMkLst>
        </pc:spChg>
        <pc:spChg chg="add del">
          <ac:chgData name="Jauhar, Mehar (A&amp;F)" userId="6b184fc0-f80d-46ab-a4ba-4a5755ad07a6" providerId="ADAL" clId="{05944E5C-DB2E-2C4F-B90B-915A3C507641}" dt="2025-10-14T13:29:49.212" v="196"/>
          <ac:spMkLst>
            <pc:docMk/>
            <pc:sldMk cId="821502453" sldId="2147483579"/>
            <ac:spMk id="10" creationId="{CCE1EA32-8190-6C2A-02DE-B7D4C7D14360}"/>
          </ac:spMkLst>
        </pc:spChg>
      </pc:sldChg>
      <pc:sldChg chg="addSp delSp modSp add mod">
        <pc:chgData name="Jauhar, Mehar (A&amp;F)" userId="6b184fc0-f80d-46ab-a4ba-4a5755ad07a6" providerId="ADAL" clId="{05944E5C-DB2E-2C4F-B90B-915A3C507641}" dt="2025-10-14T13:34:53.525" v="230" actId="2710"/>
        <pc:sldMkLst>
          <pc:docMk/>
          <pc:sldMk cId="2221198070" sldId="2147483579"/>
        </pc:sldMkLst>
        <pc:spChg chg="add mod">
          <ac:chgData name="Jauhar, Mehar (A&amp;F)" userId="6b184fc0-f80d-46ab-a4ba-4a5755ad07a6" providerId="ADAL" clId="{05944E5C-DB2E-2C4F-B90B-915A3C507641}" dt="2025-10-14T13:34:53.525" v="230" actId="2710"/>
          <ac:spMkLst>
            <pc:docMk/>
            <pc:sldMk cId="2221198070" sldId="2147483579"/>
            <ac:spMk id="2" creationId="{CAFCB4B3-25B8-F50F-0E09-BA49D170000C}"/>
          </ac:spMkLst>
        </pc:spChg>
        <pc:spChg chg="del">
          <ac:chgData name="Jauhar, Mehar (A&amp;F)" userId="6b184fc0-f80d-46ab-a4ba-4a5755ad07a6" providerId="ADAL" clId="{05944E5C-DB2E-2C4F-B90B-915A3C507641}" dt="2025-10-14T13:30:20.622" v="202" actId="478"/>
          <ac:spMkLst>
            <pc:docMk/>
            <pc:sldMk cId="2221198070" sldId="2147483579"/>
            <ac:spMk id="4" creationId="{5546E49B-B6F5-E420-E8FB-FF19C967E17F}"/>
          </ac:spMkLst>
        </pc:spChg>
        <pc:spChg chg="mod">
          <ac:chgData name="Jauhar, Mehar (A&amp;F)" userId="6b184fc0-f80d-46ab-a4ba-4a5755ad07a6" providerId="ADAL" clId="{05944E5C-DB2E-2C4F-B90B-915A3C507641}" dt="2025-10-14T13:30:12.851" v="201" actId="20577"/>
          <ac:spMkLst>
            <pc:docMk/>
            <pc:sldMk cId="2221198070" sldId="2147483579"/>
            <ac:spMk id="9" creationId="{86161790-5F2B-25E2-4D7A-61A6AF08FCAA}"/>
          </ac:spMkLst>
        </pc:spChg>
      </pc:sldChg>
      <pc:sldChg chg="addSp delSp modSp add mod">
        <pc:chgData name="Jauhar, Mehar (A&amp;F)" userId="6b184fc0-f80d-46ab-a4ba-4a5755ad07a6" providerId="ADAL" clId="{05944E5C-DB2E-2C4F-B90B-915A3C507641}" dt="2025-10-14T13:35:03.604" v="232" actId="1076"/>
        <pc:sldMkLst>
          <pc:docMk/>
          <pc:sldMk cId="723226296" sldId="2147483580"/>
        </pc:sldMkLst>
        <pc:spChg chg="del">
          <ac:chgData name="Jauhar, Mehar (A&amp;F)" userId="6b184fc0-f80d-46ab-a4ba-4a5755ad07a6" providerId="ADAL" clId="{05944E5C-DB2E-2C4F-B90B-915A3C507641}" dt="2025-10-14T13:33:41.818" v="216" actId="478"/>
          <ac:spMkLst>
            <pc:docMk/>
            <pc:sldMk cId="723226296" sldId="2147483580"/>
            <ac:spMk id="2" creationId="{1EA8A1D8-2691-EEF0-6E58-097130A6E2EA}"/>
          </ac:spMkLst>
        </pc:spChg>
        <pc:spChg chg="add mod">
          <ac:chgData name="Jauhar, Mehar (A&amp;F)" userId="6b184fc0-f80d-46ab-a4ba-4a5755ad07a6" providerId="ADAL" clId="{05944E5C-DB2E-2C4F-B90B-915A3C507641}" dt="2025-10-14T13:35:03.604" v="232" actId="1076"/>
          <ac:spMkLst>
            <pc:docMk/>
            <pc:sldMk cId="723226296" sldId="2147483580"/>
            <ac:spMk id="3" creationId="{A5E5C064-2865-4808-B380-A7AB7D2A2B44}"/>
          </ac:spMkLst>
        </pc:spChg>
        <pc:spChg chg="mod">
          <ac:chgData name="Jauhar, Mehar (A&amp;F)" userId="6b184fc0-f80d-46ab-a4ba-4a5755ad07a6" providerId="ADAL" clId="{05944E5C-DB2E-2C4F-B90B-915A3C507641}" dt="2025-10-14T13:33:39.406" v="215" actId="1076"/>
          <ac:spMkLst>
            <pc:docMk/>
            <pc:sldMk cId="723226296" sldId="2147483580"/>
            <ac:spMk id="9" creationId="{5DD3A7CD-6777-3867-1C04-5B3CC604152B}"/>
          </ac:spMkLst>
        </pc:spChg>
      </pc:sldChg>
      <pc:sldChg chg="add del">
        <pc:chgData name="Jauhar, Mehar (A&amp;F)" userId="6b184fc0-f80d-46ab-a4ba-4a5755ad07a6" providerId="ADAL" clId="{05944E5C-DB2E-2C4F-B90B-915A3C507641}" dt="2025-10-14T13:35:29.988" v="235" actId="2696"/>
        <pc:sldMkLst>
          <pc:docMk/>
          <pc:sldMk cId="316839798" sldId="2147483581"/>
        </pc:sldMkLst>
      </pc:sldChg>
      <pc:sldChg chg="addSp delSp modSp add mod">
        <pc:chgData name="Jauhar, Mehar (A&amp;F)" userId="6b184fc0-f80d-46ab-a4ba-4a5755ad07a6" providerId="ADAL" clId="{05944E5C-DB2E-2C4F-B90B-915A3C507641}" dt="2025-10-14T13:37:22.408" v="258" actId="1076"/>
        <pc:sldMkLst>
          <pc:docMk/>
          <pc:sldMk cId="710250492" sldId="2147483581"/>
        </pc:sldMkLst>
        <pc:spChg chg="del">
          <ac:chgData name="Jauhar, Mehar (A&amp;F)" userId="6b184fc0-f80d-46ab-a4ba-4a5755ad07a6" providerId="ADAL" clId="{05944E5C-DB2E-2C4F-B90B-915A3C507641}" dt="2025-10-14T13:36:48.279" v="251" actId="478"/>
          <ac:spMkLst>
            <pc:docMk/>
            <pc:sldMk cId="710250492" sldId="2147483581"/>
            <ac:spMk id="3" creationId="{80BE7626-BE39-364D-B9E1-AF8A579CF9FC}"/>
          </ac:spMkLst>
        </pc:spChg>
        <pc:spChg chg="del">
          <ac:chgData name="Jauhar, Mehar (A&amp;F)" userId="6b184fc0-f80d-46ab-a4ba-4a5755ad07a6" providerId="ADAL" clId="{05944E5C-DB2E-2C4F-B90B-915A3C507641}" dt="2025-10-14T13:36:32.370" v="247" actId="478"/>
          <ac:spMkLst>
            <pc:docMk/>
            <pc:sldMk cId="710250492" sldId="2147483581"/>
            <ac:spMk id="4" creationId="{D500FCDB-9BA7-04A2-EF97-687475DD7FC7}"/>
          </ac:spMkLst>
        </pc:spChg>
        <pc:spChg chg="del">
          <ac:chgData name="Jauhar, Mehar (A&amp;F)" userId="6b184fc0-f80d-46ab-a4ba-4a5755ad07a6" providerId="ADAL" clId="{05944E5C-DB2E-2C4F-B90B-915A3C507641}" dt="2025-10-14T13:36:32.370" v="247" actId="478"/>
          <ac:spMkLst>
            <pc:docMk/>
            <pc:sldMk cId="710250492" sldId="2147483581"/>
            <ac:spMk id="5" creationId="{D158B050-9C21-DBFE-27D3-C078399E4F2F}"/>
          </ac:spMkLst>
        </pc:spChg>
        <pc:spChg chg="add mod">
          <ac:chgData name="Jauhar, Mehar (A&amp;F)" userId="6b184fc0-f80d-46ab-a4ba-4a5755ad07a6" providerId="ADAL" clId="{05944E5C-DB2E-2C4F-B90B-915A3C507641}" dt="2025-10-14T13:36:57.852" v="254" actId="1076"/>
          <ac:spMkLst>
            <pc:docMk/>
            <pc:sldMk cId="710250492" sldId="2147483581"/>
            <ac:spMk id="7" creationId="{D9AD9EE0-A0E9-4B30-C2C3-ED30A676B259}"/>
          </ac:spMkLst>
        </pc:spChg>
        <pc:spChg chg="mod">
          <ac:chgData name="Jauhar, Mehar (A&amp;F)" userId="6b184fc0-f80d-46ab-a4ba-4a5755ad07a6" providerId="ADAL" clId="{05944E5C-DB2E-2C4F-B90B-915A3C507641}" dt="2025-10-14T13:36:28.105" v="246" actId="1076"/>
          <ac:spMkLst>
            <pc:docMk/>
            <pc:sldMk cId="710250492" sldId="2147483581"/>
            <ac:spMk id="9" creationId="{0B700F24-34D2-079D-BBF5-0EAA743F0EC6}"/>
          </ac:spMkLst>
        </pc:spChg>
        <pc:spChg chg="del">
          <ac:chgData name="Jauhar, Mehar (A&amp;F)" userId="6b184fc0-f80d-46ab-a4ba-4a5755ad07a6" providerId="ADAL" clId="{05944E5C-DB2E-2C4F-B90B-915A3C507641}" dt="2025-10-14T13:36:37.136" v="248" actId="478"/>
          <ac:spMkLst>
            <pc:docMk/>
            <pc:sldMk cId="710250492" sldId="2147483581"/>
            <ac:spMk id="11" creationId="{7720881A-2C9C-B992-485F-6B3E82F3F2D5}"/>
          </ac:spMkLst>
        </pc:spChg>
        <pc:spChg chg="del">
          <ac:chgData name="Jauhar, Mehar (A&amp;F)" userId="6b184fc0-f80d-46ab-a4ba-4a5755ad07a6" providerId="ADAL" clId="{05944E5C-DB2E-2C4F-B90B-915A3C507641}" dt="2025-10-14T13:36:32.370" v="247" actId="478"/>
          <ac:spMkLst>
            <pc:docMk/>
            <pc:sldMk cId="710250492" sldId="2147483581"/>
            <ac:spMk id="18" creationId="{48FAF199-22BC-F329-BC72-F1B4A680A0E1}"/>
          </ac:spMkLst>
        </pc:spChg>
        <pc:spChg chg="del">
          <ac:chgData name="Jauhar, Mehar (A&amp;F)" userId="6b184fc0-f80d-46ab-a4ba-4a5755ad07a6" providerId="ADAL" clId="{05944E5C-DB2E-2C4F-B90B-915A3C507641}" dt="2025-10-14T13:36:32.370" v="247" actId="478"/>
          <ac:spMkLst>
            <pc:docMk/>
            <pc:sldMk cId="710250492" sldId="2147483581"/>
            <ac:spMk id="20" creationId="{427CB2F5-786B-5506-2560-ADADC9774078}"/>
          </ac:spMkLst>
        </pc:spChg>
        <pc:spChg chg="del">
          <ac:chgData name="Jauhar, Mehar (A&amp;F)" userId="6b184fc0-f80d-46ab-a4ba-4a5755ad07a6" providerId="ADAL" clId="{05944E5C-DB2E-2C4F-B90B-915A3C507641}" dt="2025-10-14T13:36:32.370" v="247" actId="478"/>
          <ac:spMkLst>
            <pc:docMk/>
            <pc:sldMk cId="710250492" sldId="2147483581"/>
            <ac:spMk id="25" creationId="{277C924C-DA9C-0CEB-025E-0D6C14C7E07C}"/>
          </ac:spMkLst>
        </pc:spChg>
        <pc:spChg chg="del">
          <ac:chgData name="Jauhar, Mehar (A&amp;F)" userId="6b184fc0-f80d-46ab-a4ba-4a5755ad07a6" providerId="ADAL" clId="{05944E5C-DB2E-2C4F-B90B-915A3C507641}" dt="2025-10-14T13:36:32.370" v="247" actId="478"/>
          <ac:spMkLst>
            <pc:docMk/>
            <pc:sldMk cId="710250492" sldId="2147483581"/>
            <ac:spMk id="31" creationId="{F1B364DC-887A-222A-06EA-02D63634F3D1}"/>
          </ac:spMkLst>
        </pc:spChg>
        <pc:spChg chg="del">
          <ac:chgData name="Jauhar, Mehar (A&amp;F)" userId="6b184fc0-f80d-46ab-a4ba-4a5755ad07a6" providerId="ADAL" clId="{05944E5C-DB2E-2C4F-B90B-915A3C507641}" dt="2025-10-14T13:36:32.370" v="247" actId="478"/>
          <ac:spMkLst>
            <pc:docMk/>
            <pc:sldMk cId="710250492" sldId="2147483581"/>
            <ac:spMk id="35" creationId="{EB805FAF-7A6C-7966-788D-10C1C09C88F0}"/>
          </ac:spMkLst>
        </pc:spChg>
        <pc:spChg chg="del">
          <ac:chgData name="Jauhar, Mehar (A&amp;F)" userId="6b184fc0-f80d-46ab-a4ba-4a5755ad07a6" providerId="ADAL" clId="{05944E5C-DB2E-2C4F-B90B-915A3C507641}" dt="2025-10-14T13:36:40.372" v="250" actId="478"/>
          <ac:spMkLst>
            <pc:docMk/>
            <pc:sldMk cId="710250492" sldId="2147483581"/>
            <ac:spMk id="36" creationId="{292CA764-6908-A61A-3B09-5B0670A8510C}"/>
          </ac:spMkLst>
        </pc:spChg>
        <pc:spChg chg="del">
          <ac:chgData name="Jauhar, Mehar (A&amp;F)" userId="6b184fc0-f80d-46ab-a4ba-4a5755ad07a6" providerId="ADAL" clId="{05944E5C-DB2E-2C4F-B90B-915A3C507641}" dt="2025-10-14T13:36:32.370" v="247" actId="478"/>
          <ac:spMkLst>
            <pc:docMk/>
            <pc:sldMk cId="710250492" sldId="2147483581"/>
            <ac:spMk id="40" creationId="{27A52221-58A4-104B-5624-018F607CEAE2}"/>
          </ac:spMkLst>
        </pc:spChg>
        <pc:spChg chg="del">
          <ac:chgData name="Jauhar, Mehar (A&amp;F)" userId="6b184fc0-f80d-46ab-a4ba-4a5755ad07a6" providerId="ADAL" clId="{05944E5C-DB2E-2C4F-B90B-915A3C507641}" dt="2025-10-14T13:36:32.370" v="247" actId="478"/>
          <ac:spMkLst>
            <pc:docMk/>
            <pc:sldMk cId="710250492" sldId="2147483581"/>
            <ac:spMk id="44" creationId="{FE361CBA-1763-16DE-E98E-7D5BB71BFB66}"/>
          </ac:spMkLst>
        </pc:spChg>
        <pc:picChg chg="del">
          <ac:chgData name="Jauhar, Mehar (A&amp;F)" userId="6b184fc0-f80d-46ab-a4ba-4a5755ad07a6" providerId="ADAL" clId="{05944E5C-DB2E-2C4F-B90B-915A3C507641}" dt="2025-10-14T13:36:32.370" v="247" actId="478"/>
          <ac:picMkLst>
            <pc:docMk/>
            <pc:sldMk cId="710250492" sldId="2147483581"/>
            <ac:picMk id="2" creationId="{D757D05A-1635-F619-B850-1957A45D32C6}"/>
          </ac:picMkLst>
        </pc:picChg>
        <pc:picChg chg="add mod">
          <ac:chgData name="Jauhar, Mehar (A&amp;F)" userId="6b184fc0-f80d-46ab-a4ba-4a5755ad07a6" providerId="ADAL" clId="{05944E5C-DB2E-2C4F-B90B-915A3C507641}" dt="2025-10-14T13:37:22.408" v="258" actId="1076"/>
          <ac:picMkLst>
            <pc:docMk/>
            <pc:sldMk cId="710250492" sldId="2147483581"/>
            <ac:picMk id="12" creationId="{B164F636-6ED0-A859-8B78-F8FA7A8B5774}"/>
          </ac:picMkLst>
        </pc:picChg>
        <pc:picChg chg="del">
          <ac:chgData name="Jauhar, Mehar (A&amp;F)" userId="6b184fc0-f80d-46ab-a4ba-4a5755ad07a6" providerId="ADAL" clId="{05944E5C-DB2E-2C4F-B90B-915A3C507641}" dt="2025-10-14T13:36:38.388" v="249" actId="478"/>
          <ac:picMkLst>
            <pc:docMk/>
            <pc:sldMk cId="710250492" sldId="2147483581"/>
            <ac:picMk id="15" creationId="{B138A815-5E0D-18A5-DFCF-5BA68CE3E7F9}"/>
          </ac:picMkLst>
        </pc:picChg>
        <pc:picChg chg="del">
          <ac:chgData name="Jauhar, Mehar (A&amp;F)" userId="6b184fc0-f80d-46ab-a4ba-4a5755ad07a6" providerId="ADAL" clId="{05944E5C-DB2E-2C4F-B90B-915A3C507641}" dt="2025-10-14T13:36:58.799" v="255" actId="478"/>
          <ac:picMkLst>
            <pc:docMk/>
            <pc:sldMk cId="710250492" sldId="2147483581"/>
            <ac:picMk id="1026" creationId="{C07B78B7-EB65-05DE-831A-45248B0060E8}"/>
          </ac:picMkLst>
        </pc:picChg>
      </pc:sldChg>
      <pc:sldMasterChg chg="del">
        <pc:chgData name="Jauhar, Mehar (A&amp;F)" userId="6b184fc0-f80d-46ab-a4ba-4a5755ad07a6" providerId="ADAL" clId="{05944E5C-DB2E-2C4F-B90B-915A3C507641}" dt="2025-10-14T13:58:42.009" v="409" actId="2696"/>
        <pc:sldMasterMkLst>
          <pc:docMk/>
          <pc:sldMasterMk cId="4184252186" sldId="2147483665"/>
        </pc:sldMasterMkLst>
      </pc:sldMasterChg>
    </pc:docChg>
  </pc:docChgLst>
  <pc:docChgLst>
    <pc:chgData name="Strain, Mallory (A&amp;F)" userId="7f2f9c2c-98ee-44e6-afe8-8ea6a9111392" providerId="ADAL" clId="{76BCB287-729D-4DB3-B881-8F7E42D2AF28}"/>
    <pc:docChg chg="undo custSel addSld delSld modSld sldOrd">
      <pc:chgData name="Strain, Mallory (A&amp;F)" userId="7f2f9c2c-98ee-44e6-afe8-8ea6a9111392" providerId="ADAL" clId="{76BCB287-729D-4DB3-B881-8F7E42D2AF28}" dt="2025-06-25T16:35:24.764" v="1316" actId="1076"/>
      <pc:docMkLst>
        <pc:docMk/>
      </pc:docMkLst>
      <pc:sldChg chg="modSp mod">
        <pc:chgData name="Strain, Mallory (A&amp;F)" userId="7f2f9c2c-98ee-44e6-afe8-8ea6a9111392" providerId="ADAL" clId="{76BCB287-729D-4DB3-B881-8F7E42D2AF28}" dt="2025-06-24T20:35:08.073" v="47" actId="20577"/>
        <pc:sldMkLst>
          <pc:docMk/>
          <pc:sldMk cId="1869192741" sldId="257"/>
        </pc:sldMkLst>
      </pc:sldChg>
      <pc:sldChg chg="del">
        <pc:chgData name="Strain, Mallory (A&amp;F)" userId="7f2f9c2c-98ee-44e6-afe8-8ea6a9111392" providerId="ADAL" clId="{76BCB287-729D-4DB3-B881-8F7E42D2AF28}" dt="2025-06-24T21:11:20.699" v="217" actId="47"/>
        <pc:sldMkLst>
          <pc:docMk/>
          <pc:sldMk cId="1480225547" sldId="267"/>
        </pc:sldMkLst>
      </pc:sldChg>
      <pc:sldChg chg="add">
        <pc:chgData name="Strain, Mallory (A&amp;F)" userId="7f2f9c2c-98ee-44e6-afe8-8ea6a9111392" providerId="ADAL" clId="{76BCB287-729D-4DB3-B881-8F7E42D2AF28}" dt="2025-06-24T21:10:36.800" v="212"/>
        <pc:sldMkLst>
          <pc:docMk/>
          <pc:sldMk cId="2784336257" sldId="271"/>
        </pc:sldMkLst>
      </pc:sldChg>
      <pc:sldChg chg="modSp">
        <pc:chgData name="Strain, Mallory (A&amp;F)" userId="7f2f9c2c-98ee-44e6-afe8-8ea6a9111392" providerId="ADAL" clId="{76BCB287-729D-4DB3-B881-8F7E42D2AF28}" dt="2025-06-25T16:01:02.654" v="828" actId="20577"/>
        <pc:sldMkLst>
          <pc:docMk/>
          <pc:sldMk cId="3126995564" sldId="276"/>
        </pc:sldMkLst>
      </pc:sldChg>
      <pc:sldChg chg="add">
        <pc:chgData name="Strain, Mallory (A&amp;F)" userId="7f2f9c2c-98ee-44e6-afe8-8ea6a9111392" providerId="ADAL" clId="{76BCB287-729D-4DB3-B881-8F7E42D2AF28}" dt="2025-06-24T21:11:02.065" v="213"/>
        <pc:sldMkLst>
          <pc:docMk/>
          <pc:sldMk cId="2571056734" sldId="279"/>
        </pc:sldMkLst>
      </pc:sldChg>
      <pc:sldChg chg="add">
        <pc:chgData name="Strain, Mallory (A&amp;F)" userId="7f2f9c2c-98ee-44e6-afe8-8ea6a9111392" providerId="ADAL" clId="{76BCB287-729D-4DB3-B881-8F7E42D2AF28}" dt="2025-06-24T21:11:03.506" v="214"/>
        <pc:sldMkLst>
          <pc:docMk/>
          <pc:sldMk cId="869619033" sldId="2147483511"/>
        </pc:sldMkLst>
      </pc:sldChg>
      <pc:sldChg chg="del">
        <pc:chgData name="Strain, Mallory (A&amp;F)" userId="7f2f9c2c-98ee-44e6-afe8-8ea6a9111392" providerId="ADAL" clId="{76BCB287-729D-4DB3-B881-8F7E42D2AF28}" dt="2025-06-24T21:11:17.901" v="216" actId="47"/>
        <pc:sldMkLst>
          <pc:docMk/>
          <pc:sldMk cId="3063005991" sldId="2147483518"/>
        </pc:sldMkLst>
      </pc:sldChg>
      <pc:sldChg chg="modSp mod">
        <pc:chgData name="Strain, Mallory (A&amp;F)" userId="7f2f9c2c-98ee-44e6-afe8-8ea6a9111392" providerId="ADAL" clId="{76BCB287-729D-4DB3-B881-8F7E42D2AF28}" dt="2025-06-25T16:04:39.754" v="847" actId="20577"/>
        <pc:sldMkLst>
          <pc:docMk/>
          <pc:sldMk cId="75659367" sldId="2147483522"/>
        </pc:sldMkLst>
      </pc:sldChg>
      <pc:sldChg chg="addSp modSp mod">
        <pc:chgData name="Strain, Mallory (A&amp;F)" userId="7f2f9c2c-98ee-44e6-afe8-8ea6a9111392" providerId="ADAL" clId="{76BCB287-729D-4DB3-B881-8F7E42D2AF28}" dt="2025-06-25T14:41:53.661" v="248" actId="20577"/>
        <pc:sldMkLst>
          <pc:docMk/>
          <pc:sldMk cId="4156858417" sldId="2147483524"/>
        </pc:sldMkLst>
      </pc:sldChg>
      <pc:sldChg chg="modSp mod">
        <pc:chgData name="Strain, Mallory (A&amp;F)" userId="7f2f9c2c-98ee-44e6-afe8-8ea6a9111392" providerId="ADAL" clId="{76BCB287-729D-4DB3-B881-8F7E42D2AF28}" dt="2025-06-25T15:19:21.575" v="445" actId="2165"/>
        <pc:sldMkLst>
          <pc:docMk/>
          <pc:sldMk cId="3181120436" sldId="2147483527"/>
        </pc:sldMkLst>
      </pc:sldChg>
      <pc:sldChg chg="del mod modShow">
        <pc:chgData name="Strain, Mallory (A&amp;F)" userId="7f2f9c2c-98ee-44e6-afe8-8ea6a9111392" providerId="ADAL" clId="{76BCB287-729D-4DB3-B881-8F7E42D2AF28}" dt="2025-06-25T15:59:36.626" v="780" actId="2696"/>
        <pc:sldMkLst>
          <pc:docMk/>
          <pc:sldMk cId="741855450" sldId="2147483534"/>
        </pc:sldMkLst>
      </pc:sldChg>
      <pc:sldChg chg="modSp mod">
        <pc:chgData name="Strain, Mallory (A&amp;F)" userId="7f2f9c2c-98ee-44e6-afe8-8ea6a9111392" providerId="ADAL" clId="{76BCB287-729D-4DB3-B881-8F7E42D2AF28}" dt="2025-06-25T15:57:47.982" v="779" actId="1076"/>
        <pc:sldMkLst>
          <pc:docMk/>
          <pc:sldMk cId="1238033683" sldId="2147483540"/>
        </pc:sldMkLst>
      </pc:sldChg>
      <pc:sldChg chg="del">
        <pc:chgData name="Strain, Mallory (A&amp;F)" userId="7f2f9c2c-98ee-44e6-afe8-8ea6a9111392" providerId="ADAL" clId="{76BCB287-729D-4DB3-B881-8F7E42D2AF28}" dt="2025-06-24T21:10:11.651" v="209" actId="47"/>
        <pc:sldMkLst>
          <pc:docMk/>
          <pc:sldMk cId="956562679" sldId="2147483541"/>
        </pc:sldMkLst>
      </pc:sldChg>
      <pc:sldChg chg="modSp add mod">
        <pc:chgData name="Strain, Mallory (A&amp;F)" userId="7f2f9c2c-98ee-44e6-afe8-8ea6a9111392" providerId="ADAL" clId="{76BCB287-729D-4DB3-B881-8F7E42D2AF28}" dt="2025-06-25T16:35:24.764" v="1316" actId="1076"/>
        <pc:sldMkLst>
          <pc:docMk/>
          <pc:sldMk cId="1403604722" sldId="2147483545"/>
        </pc:sldMkLst>
      </pc:sldChg>
      <pc:sldChg chg="add">
        <pc:chgData name="Strain, Mallory (A&amp;F)" userId="7f2f9c2c-98ee-44e6-afe8-8ea6a9111392" providerId="ADAL" clId="{76BCB287-729D-4DB3-B881-8F7E42D2AF28}" dt="2025-06-24T21:10:36.097" v="211"/>
        <pc:sldMkLst>
          <pc:docMk/>
          <pc:sldMk cId="3587221270" sldId="2147483546"/>
        </pc:sldMkLst>
      </pc:sldChg>
      <pc:sldChg chg="add">
        <pc:chgData name="Strain, Mallory (A&amp;F)" userId="7f2f9c2c-98ee-44e6-afe8-8ea6a9111392" providerId="ADAL" clId="{76BCB287-729D-4DB3-B881-8F7E42D2AF28}" dt="2025-06-24T21:11:08.261" v="215"/>
        <pc:sldMkLst>
          <pc:docMk/>
          <pc:sldMk cId="3437681779" sldId="2147483547"/>
        </pc:sldMkLst>
      </pc:sldChg>
      <pc:sldChg chg="addSp delSp modSp new del mod ord">
        <pc:chgData name="Strain, Mallory (A&amp;F)" userId="7f2f9c2c-98ee-44e6-afe8-8ea6a9111392" providerId="ADAL" clId="{76BCB287-729D-4DB3-B881-8F7E42D2AF28}" dt="2025-06-25T16:35:03.654" v="1315" actId="2696"/>
        <pc:sldMkLst>
          <pc:docMk/>
          <pc:sldMk cId="3567572238" sldId="2147483548"/>
        </pc:sldMkLst>
      </pc:sldChg>
      <pc:sldMasterChg chg="delSldLayout">
        <pc:chgData name="Strain, Mallory (A&amp;F)" userId="7f2f9c2c-98ee-44e6-afe8-8ea6a9111392" providerId="ADAL" clId="{76BCB287-729D-4DB3-B881-8F7E42D2AF28}" dt="2025-06-24T21:11:20.699" v="217" actId="47"/>
        <pc:sldMasterMkLst>
          <pc:docMk/>
          <pc:sldMasterMk cId="82068008" sldId="2147483660"/>
        </pc:sldMasterMkLst>
        <pc:sldLayoutChg chg="del">
          <pc:chgData name="Strain, Mallory (A&amp;F)" userId="7f2f9c2c-98ee-44e6-afe8-8ea6a9111392" providerId="ADAL" clId="{76BCB287-729D-4DB3-B881-8F7E42D2AF28}" dt="2025-06-24T21:11:20.699" v="217" actId="47"/>
          <pc:sldLayoutMkLst>
            <pc:docMk/>
            <pc:sldMasterMk cId="82068008" sldId="2147483660"/>
            <pc:sldLayoutMk cId="2782495069" sldId="2147483671"/>
          </pc:sldLayoutMkLst>
        </pc:sldLayoutChg>
      </pc:sldMasterChg>
    </pc:docChg>
  </pc:docChgLst>
  <pc:docChgLst>
    <pc:chgData name="Eynatian, Amy (GOV)" userId="fc93f6e2-70b1-42a6-a830-05a1d5b7bda0" providerId="ADAL" clId="{0C5D4945-B2C6-467D-AE87-46685B5C4D09}"/>
    <pc:docChg chg="custSel delSld modSld">
      <pc:chgData name="Eynatian, Amy (GOV)" userId="fc93f6e2-70b1-42a6-a830-05a1d5b7bda0" providerId="ADAL" clId="{0C5D4945-B2C6-467D-AE87-46685B5C4D09}" dt="2025-10-14T19:14:49.944" v="26" actId="20577"/>
      <pc:docMkLst>
        <pc:docMk/>
      </pc:docMkLst>
      <pc:sldChg chg="modSp mod modCm">
        <pc:chgData name="Eynatian, Amy (GOV)" userId="fc93f6e2-70b1-42a6-a830-05a1d5b7bda0" providerId="ADAL" clId="{0C5D4945-B2C6-467D-AE87-46685B5C4D09}" dt="2025-10-14T19:14:49.944" v="26" actId="20577"/>
        <pc:sldMkLst>
          <pc:docMk/>
          <pc:sldMk cId="3181120436" sldId="2147483527"/>
        </pc:sldMkLst>
        <pc:spChg chg="mod">
          <ac:chgData name="Eynatian, Amy (GOV)" userId="fc93f6e2-70b1-42a6-a830-05a1d5b7bda0" providerId="ADAL" clId="{0C5D4945-B2C6-467D-AE87-46685B5C4D09}" dt="2025-10-14T19:14:04.146" v="23" actId="1076"/>
          <ac:spMkLst>
            <pc:docMk/>
            <pc:sldMk cId="3181120436" sldId="2147483527"/>
            <ac:spMk id="2" creationId="{B38A9A6C-0B3C-E2BF-39CA-293C1AE74F48}"/>
          </ac:spMkLst>
        </pc:spChg>
        <pc:spChg chg="mod">
          <ac:chgData name="Eynatian, Amy (GOV)" userId="fc93f6e2-70b1-42a6-a830-05a1d5b7bda0" providerId="ADAL" clId="{0C5D4945-B2C6-467D-AE87-46685B5C4D09}" dt="2025-10-14T19:13:47.692" v="21" actId="1076"/>
          <ac:spMkLst>
            <pc:docMk/>
            <pc:sldMk cId="3181120436" sldId="2147483527"/>
            <ac:spMk id="9" creationId="{8E7F279F-4B22-AE75-6585-699D8D9B4F39}"/>
          </ac:spMkLst>
        </pc:spChg>
        <pc:graphicFrameChg chg="mod modGraphic">
          <ac:chgData name="Eynatian, Amy (GOV)" userId="fc93f6e2-70b1-42a6-a830-05a1d5b7bda0" providerId="ADAL" clId="{0C5D4945-B2C6-467D-AE87-46685B5C4D09}" dt="2025-10-14T19:14:49.944" v="26" actId="20577"/>
          <ac:graphicFrameMkLst>
            <pc:docMk/>
            <pc:sldMk cId="3181120436" sldId="2147483527"/>
            <ac:graphicFrameMk id="6" creationId="{4C906486-E95B-F55A-6695-30C3148FF2F2}"/>
          </ac:graphicFrameMkLst>
        </pc:graphicFrameChg>
        <pc:extLst>
          <p:ext xmlns:p="http://schemas.openxmlformats.org/presentationml/2006/main" uri="{D6D511B9-2390-475A-947B-AFAB55BFBCF1}">
            <pc226:cmChg xmlns:pc226="http://schemas.microsoft.com/office/powerpoint/2022/06/main/command" chg="mod">
              <pc226:chgData name="Eynatian, Amy (GOV)" userId="fc93f6e2-70b1-42a6-a830-05a1d5b7bda0" providerId="ADAL" clId="{0C5D4945-B2C6-467D-AE87-46685B5C4D09}" dt="2025-10-14T13:45:07.929" v="3" actId="20577"/>
              <pc2:cmMkLst xmlns:pc2="http://schemas.microsoft.com/office/powerpoint/2019/9/main/command">
                <pc:docMk/>
                <pc:sldMk cId="3181120436" sldId="2147483527"/>
                <pc2:cmMk id="{0B7DEC6B-5FEA-C049-B043-64CA1068329B}"/>
              </pc2:cmMkLst>
            </pc226:cmChg>
          </p:ext>
        </pc:extLst>
      </pc:sldChg>
      <pc:sldChg chg="modSp mod">
        <pc:chgData name="Eynatian, Amy (GOV)" userId="fc93f6e2-70b1-42a6-a830-05a1d5b7bda0" providerId="ADAL" clId="{0C5D4945-B2C6-467D-AE87-46685B5C4D09}" dt="2025-10-14T19:13:25.734" v="18" actId="1076"/>
        <pc:sldMkLst>
          <pc:docMk/>
          <pc:sldMk cId="1238033683" sldId="2147483540"/>
        </pc:sldMkLst>
        <pc:spChg chg="mod">
          <ac:chgData name="Eynatian, Amy (GOV)" userId="fc93f6e2-70b1-42a6-a830-05a1d5b7bda0" providerId="ADAL" clId="{0C5D4945-B2C6-467D-AE87-46685B5C4D09}" dt="2025-10-14T19:13:25.734" v="18" actId="1076"/>
          <ac:spMkLst>
            <pc:docMk/>
            <pc:sldMk cId="1238033683" sldId="2147483540"/>
            <ac:spMk id="9" creationId="{768BA126-FB10-CA43-4107-F6ACEA3AFF15}"/>
          </ac:spMkLst>
        </pc:spChg>
        <pc:graphicFrameChg chg="mod modGraphic">
          <ac:chgData name="Eynatian, Amy (GOV)" userId="fc93f6e2-70b1-42a6-a830-05a1d5b7bda0" providerId="ADAL" clId="{0C5D4945-B2C6-467D-AE87-46685B5C4D09}" dt="2025-10-14T19:13:18.512" v="17" actId="1076"/>
          <ac:graphicFrameMkLst>
            <pc:docMk/>
            <pc:sldMk cId="1238033683" sldId="2147483540"/>
            <ac:graphicFrameMk id="6" creationId="{6A6980E1-34F0-6FB4-7B9D-EBB8D9A4230E}"/>
          </ac:graphicFrameMkLst>
        </pc:graphicFrameChg>
      </pc:sldChg>
      <pc:sldChg chg="modSp mod">
        <pc:chgData name="Eynatian, Amy (GOV)" userId="fc93f6e2-70b1-42a6-a830-05a1d5b7bda0" providerId="ADAL" clId="{0C5D4945-B2C6-467D-AE87-46685B5C4D09}" dt="2025-10-14T13:44:43.650" v="1" actId="27636"/>
        <pc:sldMkLst>
          <pc:docMk/>
          <pc:sldMk cId="2937260740" sldId="2147483544"/>
        </pc:sldMkLst>
        <pc:spChg chg="mod">
          <ac:chgData name="Eynatian, Amy (GOV)" userId="fc93f6e2-70b1-42a6-a830-05a1d5b7bda0" providerId="ADAL" clId="{0C5D4945-B2C6-467D-AE87-46685B5C4D09}" dt="2025-10-14T13:44:43.650" v="1" actId="27636"/>
          <ac:spMkLst>
            <pc:docMk/>
            <pc:sldMk cId="2937260740" sldId="2147483544"/>
            <ac:spMk id="39" creationId="{64E381FF-57CC-0E28-7D42-5D1BE7D909D5}"/>
          </ac:spMkLst>
        </pc:spChg>
      </pc:sldChg>
      <pc:sldChg chg="del">
        <pc:chgData name="Eynatian, Amy (GOV)" userId="fc93f6e2-70b1-42a6-a830-05a1d5b7bda0" providerId="ADAL" clId="{0C5D4945-B2C6-467D-AE87-46685B5C4D09}" dt="2025-10-14T13:46:19.388" v="5" actId="2696"/>
        <pc:sldMkLst>
          <pc:docMk/>
          <pc:sldMk cId="3473443990" sldId="2147483550"/>
        </pc:sldMkLst>
      </pc:sldChg>
    </pc:docChg>
  </pc:docChgLst>
  <pc:docChgLst>
    <pc:chgData name="Strain, Mallory (A&amp;F)" userId="S::mallory.strain@mass.gov::7f2f9c2c-98ee-44e6-afe8-8ea6a9111392" providerId="AD" clId="Web-{F597BD6A-289A-71F5-7323-CD038EDAB1A7}"/>
    <pc:docChg chg="modSld">
      <pc:chgData name="Strain, Mallory (A&amp;F)" userId="S::mallory.strain@mass.gov::7f2f9c2c-98ee-44e6-afe8-8ea6a9111392" providerId="AD" clId="Web-{F597BD6A-289A-71F5-7323-CD038EDAB1A7}" dt="2025-10-14T14:31:01.827" v="3" actId="20577"/>
      <pc:docMkLst>
        <pc:docMk/>
      </pc:docMkLst>
      <pc:sldChg chg="modSp modCm">
        <pc:chgData name="Strain, Mallory (A&amp;F)" userId="S::mallory.strain@mass.gov::7f2f9c2c-98ee-44e6-afe8-8ea6a9111392" providerId="AD" clId="Web-{F597BD6A-289A-71F5-7323-CD038EDAB1A7}" dt="2025-10-14T14:31:01.827" v="3" actId="20577"/>
        <pc:sldMkLst>
          <pc:docMk/>
          <pc:sldMk cId="75659367" sldId="2147483522"/>
        </pc:sldMkLst>
        <pc:spChg chg="mod">
          <ac:chgData name="Strain, Mallory (A&amp;F)" userId="S::mallory.strain@mass.gov::7f2f9c2c-98ee-44e6-afe8-8ea6a9111392" providerId="AD" clId="Web-{F597BD6A-289A-71F5-7323-CD038EDAB1A7}" dt="2025-10-14T14:31:01.827" v="3" actId="20577"/>
          <ac:spMkLst>
            <pc:docMk/>
            <pc:sldMk cId="75659367" sldId="2147483522"/>
            <ac:spMk id="11" creationId="{C99D162D-B2EC-B50A-919C-1363298DF8EA}"/>
          </ac:spMkLst>
        </pc:spChg>
        <pc:extLst>
          <p:ext xmlns:p="http://schemas.openxmlformats.org/presentationml/2006/main" uri="{D6D511B9-2390-475A-947B-AFAB55BFBCF1}">
            <pc226:cmChg xmlns:pc226="http://schemas.microsoft.com/office/powerpoint/2022/06/main/command" chg="mod">
              <pc226:chgData name="Strain, Mallory (A&amp;F)" userId="S::mallory.strain@mass.gov::7f2f9c2c-98ee-44e6-afe8-8ea6a9111392" providerId="AD" clId="Web-{F597BD6A-289A-71F5-7323-CD038EDAB1A7}" dt="2025-10-14T14:30:35.421" v="2" actId="20577"/>
              <pc2:cmMkLst xmlns:pc2="http://schemas.microsoft.com/office/powerpoint/2019/9/main/command">
                <pc:docMk/>
                <pc:sldMk cId="75659367" sldId="2147483522"/>
                <pc2:cmMk id="{EB640932-2AD3-7741-BC85-73F5D6293EF3}"/>
              </pc2:cmMkLst>
            </pc226:cmChg>
            <pc226:cmChg xmlns:pc226="http://schemas.microsoft.com/office/powerpoint/2022/06/main/command" chg="mod">
              <pc226:chgData name="Strain, Mallory (A&amp;F)" userId="S::mallory.strain@mass.gov::7f2f9c2c-98ee-44e6-afe8-8ea6a9111392" providerId="AD" clId="Web-{F597BD6A-289A-71F5-7323-CD038EDAB1A7}" dt="2025-10-14T14:30:35.421" v="2" actId="20577"/>
              <pc2:cmMkLst xmlns:pc2="http://schemas.microsoft.com/office/powerpoint/2019/9/main/command">
                <pc:docMk/>
                <pc:sldMk cId="75659367" sldId="2147483522"/>
                <pc2:cmMk id="{8EBC44E1-E244-F049-B13C-3D75C44208B2}"/>
              </pc2:cmMkLst>
            </pc226:cmChg>
          </p:ext>
        </pc:extLst>
      </pc:sldChg>
    </pc:docChg>
  </pc:docChgLst>
  <pc:docChgLst>
    <pc:chgData name="Freedman-Gurspan, Raffi M. (A&amp;F)" userId="S::raffi.m.freedman-gurspan@mass.gov::a4264ceb-f17c-46fb-9391-34823f1bd1a4" providerId="AD" clId="Web-{7AD93502-6E6A-F8FD-68B0-CCD7A78DA17B}"/>
    <pc:docChg chg="mod">
      <pc:chgData name="Freedman-Gurspan, Raffi M. (A&amp;F)" userId="S::raffi.m.freedman-gurspan@mass.gov::a4264ceb-f17c-46fb-9391-34823f1bd1a4" providerId="AD" clId="Web-{7AD93502-6E6A-F8FD-68B0-CCD7A78DA17B}" dt="2025-10-14T18:36:53.837" v="0"/>
      <pc:docMkLst>
        <pc:docMk/>
      </pc:docMkLst>
    </pc:docChg>
  </pc:docChgLst>
  <pc:docChgLst>
    <pc:chgData name="Strain, Mallory (A&amp;F)" userId="7f2f9c2c-98ee-44e6-afe8-8ea6a9111392" providerId="ADAL" clId="{A563F33E-2C43-4DEC-A7A9-F03B668599E2}"/>
    <pc:docChg chg="custSel addSld delSld modSld sldOrd">
      <pc:chgData name="Strain, Mallory (A&amp;F)" userId="7f2f9c2c-98ee-44e6-afe8-8ea6a9111392" providerId="ADAL" clId="{A563F33E-2C43-4DEC-A7A9-F03B668599E2}" dt="2025-10-14T23:28:07.135" v="373" actId="20577"/>
      <pc:docMkLst>
        <pc:docMk/>
      </pc:docMkLst>
      <pc:sldChg chg="add">
        <pc:chgData name="Strain, Mallory (A&amp;F)" userId="7f2f9c2c-98ee-44e6-afe8-8ea6a9111392" providerId="ADAL" clId="{A563F33E-2C43-4DEC-A7A9-F03B668599E2}" dt="2025-10-14T20:19:21.248" v="146"/>
        <pc:sldMkLst>
          <pc:docMk/>
          <pc:sldMk cId="675349795" sldId="256"/>
        </pc:sldMkLst>
      </pc:sldChg>
      <pc:sldChg chg="ord">
        <pc:chgData name="Strain, Mallory (A&amp;F)" userId="7f2f9c2c-98ee-44e6-afe8-8ea6a9111392" providerId="ADAL" clId="{A563F33E-2C43-4DEC-A7A9-F03B668599E2}" dt="2025-10-14T18:21:07.638" v="138"/>
        <pc:sldMkLst>
          <pc:docMk/>
          <pc:sldMk cId="1603070670" sldId="258"/>
        </pc:sldMkLst>
      </pc:sldChg>
      <pc:sldChg chg="add">
        <pc:chgData name="Strain, Mallory (A&amp;F)" userId="7f2f9c2c-98ee-44e6-afe8-8ea6a9111392" providerId="ADAL" clId="{A563F33E-2C43-4DEC-A7A9-F03B668599E2}" dt="2025-10-14T20:19:22.618" v="149"/>
        <pc:sldMkLst>
          <pc:docMk/>
          <pc:sldMk cId="4144466960" sldId="259"/>
        </pc:sldMkLst>
      </pc:sldChg>
      <pc:sldChg chg="add">
        <pc:chgData name="Strain, Mallory (A&amp;F)" userId="7f2f9c2c-98ee-44e6-afe8-8ea6a9111392" providerId="ADAL" clId="{A563F33E-2C43-4DEC-A7A9-F03B668599E2}" dt="2025-10-14T20:19:23.023" v="150"/>
        <pc:sldMkLst>
          <pc:docMk/>
          <pc:sldMk cId="3492825148" sldId="260"/>
        </pc:sldMkLst>
      </pc:sldChg>
      <pc:sldChg chg="add">
        <pc:chgData name="Strain, Mallory (A&amp;F)" userId="7f2f9c2c-98ee-44e6-afe8-8ea6a9111392" providerId="ADAL" clId="{A563F33E-2C43-4DEC-A7A9-F03B668599E2}" dt="2025-10-14T20:19:24.742" v="151"/>
        <pc:sldMkLst>
          <pc:docMk/>
          <pc:sldMk cId="734419137" sldId="261"/>
        </pc:sldMkLst>
      </pc:sldChg>
      <pc:sldChg chg="add">
        <pc:chgData name="Strain, Mallory (A&amp;F)" userId="7f2f9c2c-98ee-44e6-afe8-8ea6a9111392" providerId="ADAL" clId="{A563F33E-2C43-4DEC-A7A9-F03B668599E2}" dt="2025-10-14T20:19:25.304" v="152"/>
        <pc:sldMkLst>
          <pc:docMk/>
          <pc:sldMk cId="1051347007" sldId="262"/>
        </pc:sldMkLst>
      </pc:sldChg>
      <pc:sldChg chg="modSp mod">
        <pc:chgData name="Strain, Mallory (A&amp;F)" userId="7f2f9c2c-98ee-44e6-afe8-8ea6a9111392" providerId="ADAL" clId="{A563F33E-2C43-4DEC-A7A9-F03B668599E2}" dt="2025-10-14T23:26:59.119" v="351" actId="20577"/>
        <pc:sldMkLst>
          <pc:docMk/>
          <pc:sldMk cId="3126995564" sldId="276"/>
        </pc:sldMkLst>
        <pc:graphicFrameChg chg="mod modGraphic">
          <ac:chgData name="Strain, Mallory (A&amp;F)" userId="7f2f9c2c-98ee-44e6-afe8-8ea6a9111392" providerId="ADAL" clId="{A563F33E-2C43-4DEC-A7A9-F03B668599E2}" dt="2025-10-14T23:26:59.119" v="351" actId="20577"/>
          <ac:graphicFrameMkLst>
            <pc:docMk/>
            <pc:sldMk cId="3126995564" sldId="276"/>
            <ac:graphicFrameMk id="4" creationId="{BCAF1A5D-AAF4-A5C2-F609-471FBC3134D9}"/>
          </ac:graphicFrameMkLst>
        </pc:graphicFrameChg>
      </pc:sldChg>
      <pc:sldChg chg="ord">
        <pc:chgData name="Strain, Mallory (A&amp;F)" userId="7f2f9c2c-98ee-44e6-afe8-8ea6a9111392" providerId="ADAL" clId="{A563F33E-2C43-4DEC-A7A9-F03B668599E2}" dt="2025-10-14T20:21:52.497" v="248"/>
        <pc:sldMkLst>
          <pc:docMk/>
          <pc:sldMk cId="2340298969" sldId="2147483478"/>
        </pc:sldMkLst>
      </pc:sldChg>
      <pc:sldChg chg="ord">
        <pc:chgData name="Strain, Mallory (A&amp;F)" userId="7f2f9c2c-98ee-44e6-afe8-8ea6a9111392" providerId="ADAL" clId="{A563F33E-2C43-4DEC-A7A9-F03B668599E2}" dt="2025-10-14T18:20:09.531" v="1"/>
        <pc:sldMkLst>
          <pc:docMk/>
          <pc:sldMk cId="3181120436" sldId="2147483527"/>
        </pc:sldMkLst>
      </pc:sldChg>
      <pc:sldChg chg="ord">
        <pc:chgData name="Strain, Mallory (A&amp;F)" userId="7f2f9c2c-98ee-44e6-afe8-8ea6a9111392" providerId="ADAL" clId="{A563F33E-2C43-4DEC-A7A9-F03B668599E2}" dt="2025-10-14T18:20:25.867" v="10"/>
        <pc:sldMkLst>
          <pc:docMk/>
          <pc:sldMk cId="1238033683" sldId="2147483540"/>
        </pc:sldMkLst>
      </pc:sldChg>
      <pc:sldChg chg="ord">
        <pc:chgData name="Strain, Mallory (A&amp;F)" userId="7f2f9c2c-98ee-44e6-afe8-8ea6a9111392" providerId="ADAL" clId="{A563F33E-2C43-4DEC-A7A9-F03B668599E2}" dt="2025-10-14T20:22:06.028" v="250"/>
        <pc:sldMkLst>
          <pc:docMk/>
          <pc:sldMk cId="4180395274" sldId="2147483542"/>
        </pc:sldMkLst>
      </pc:sldChg>
      <pc:sldChg chg="ord">
        <pc:chgData name="Strain, Mallory (A&amp;F)" userId="7f2f9c2c-98ee-44e6-afe8-8ea6a9111392" providerId="ADAL" clId="{A563F33E-2C43-4DEC-A7A9-F03B668599E2}" dt="2025-10-14T20:21:24.350" v="239"/>
        <pc:sldMkLst>
          <pc:docMk/>
          <pc:sldMk cId="2221198070" sldId="2147483579"/>
        </pc:sldMkLst>
      </pc:sldChg>
      <pc:sldChg chg="ord">
        <pc:chgData name="Strain, Mallory (A&amp;F)" userId="7f2f9c2c-98ee-44e6-afe8-8ea6a9111392" providerId="ADAL" clId="{A563F33E-2C43-4DEC-A7A9-F03B668599E2}" dt="2025-10-14T20:21:30.871" v="241"/>
        <pc:sldMkLst>
          <pc:docMk/>
          <pc:sldMk cId="723226296" sldId="2147483580"/>
        </pc:sldMkLst>
      </pc:sldChg>
      <pc:sldChg chg="ord">
        <pc:chgData name="Strain, Mallory (A&amp;F)" userId="7f2f9c2c-98ee-44e6-afe8-8ea6a9111392" providerId="ADAL" clId="{A563F33E-2C43-4DEC-A7A9-F03B668599E2}" dt="2025-10-14T20:21:42.144" v="246"/>
        <pc:sldMkLst>
          <pc:docMk/>
          <pc:sldMk cId="710250492" sldId="2147483581"/>
        </pc:sldMkLst>
      </pc:sldChg>
      <pc:sldChg chg="modSp mod ord">
        <pc:chgData name="Strain, Mallory (A&amp;F)" userId="7f2f9c2c-98ee-44e6-afe8-8ea6a9111392" providerId="ADAL" clId="{A563F33E-2C43-4DEC-A7A9-F03B668599E2}" dt="2025-10-14T18:21:25.063" v="143" actId="1076"/>
        <pc:sldMkLst>
          <pc:docMk/>
          <pc:sldMk cId="1840287993" sldId="2147483582"/>
        </pc:sldMkLst>
        <pc:spChg chg="mod">
          <ac:chgData name="Strain, Mallory (A&amp;F)" userId="7f2f9c2c-98ee-44e6-afe8-8ea6a9111392" providerId="ADAL" clId="{A563F33E-2C43-4DEC-A7A9-F03B668599E2}" dt="2025-10-14T18:21:19.364" v="141" actId="1076"/>
          <ac:spMkLst>
            <pc:docMk/>
            <pc:sldMk cId="1840287993" sldId="2147483582"/>
            <ac:spMk id="7" creationId="{0C3E94F8-6B06-3211-4F1C-8C46FDAC9CDF}"/>
          </ac:spMkLst>
        </pc:spChg>
        <pc:picChg chg="mod">
          <ac:chgData name="Strain, Mallory (A&amp;F)" userId="7f2f9c2c-98ee-44e6-afe8-8ea6a9111392" providerId="ADAL" clId="{A563F33E-2C43-4DEC-A7A9-F03B668599E2}" dt="2025-10-14T18:21:25.063" v="143" actId="1076"/>
          <ac:picMkLst>
            <pc:docMk/>
            <pc:sldMk cId="1840287993" sldId="2147483582"/>
            <ac:picMk id="5" creationId="{CF493BDF-B586-F8DF-04C3-FD47B51E9ECB}"/>
          </ac:picMkLst>
        </pc:picChg>
      </pc:sldChg>
      <pc:sldChg chg="del">
        <pc:chgData name="Strain, Mallory (A&amp;F)" userId="7f2f9c2c-98ee-44e6-afe8-8ea6a9111392" providerId="ADAL" clId="{A563F33E-2C43-4DEC-A7A9-F03B668599E2}" dt="2025-10-14T20:21:35.375" v="242" actId="47"/>
        <pc:sldMkLst>
          <pc:docMk/>
          <pc:sldMk cId="4110600579" sldId="2147483583"/>
        </pc:sldMkLst>
      </pc:sldChg>
      <pc:sldChg chg="modSp add mod ord">
        <pc:chgData name="Strain, Mallory (A&amp;F)" userId="7f2f9c2c-98ee-44e6-afe8-8ea6a9111392" providerId="ADAL" clId="{A563F33E-2C43-4DEC-A7A9-F03B668599E2}" dt="2025-10-14T20:21:19.292" v="237"/>
        <pc:sldMkLst>
          <pc:docMk/>
          <pc:sldMk cId="1696415235" sldId="2147483584"/>
        </pc:sldMkLst>
        <pc:spChg chg="mod">
          <ac:chgData name="Strain, Mallory (A&amp;F)" userId="7f2f9c2c-98ee-44e6-afe8-8ea6a9111392" providerId="ADAL" clId="{A563F33E-2C43-4DEC-A7A9-F03B668599E2}" dt="2025-10-14T18:20:56.534" v="136" actId="20577"/>
          <ac:spMkLst>
            <pc:docMk/>
            <pc:sldMk cId="1696415235" sldId="2147483584"/>
            <ac:spMk id="2" creationId="{232BDDBE-F9CD-F864-73E8-FB7440A583F6}"/>
          </ac:spMkLst>
        </pc:spChg>
      </pc:sldChg>
      <pc:sldChg chg="add">
        <pc:chgData name="Strain, Mallory (A&amp;F)" userId="7f2f9c2c-98ee-44e6-afe8-8ea6a9111392" providerId="ADAL" clId="{A563F33E-2C43-4DEC-A7A9-F03B668599E2}" dt="2025-10-14T20:19:21.766" v="147"/>
        <pc:sldMkLst>
          <pc:docMk/>
          <pc:sldMk cId="2622344725" sldId="2147483585"/>
        </pc:sldMkLst>
      </pc:sldChg>
      <pc:sldChg chg="add">
        <pc:chgData name="Strain, Mallory (A&amp;F)" userId="7f2f9c2c-98ee-44e6-afe8-8ea6a9111392" providerId="ADAL" clId="{A563F33E-2C43-4DEC-A7A9-F03B668599E2}" dt="2025-10-14T20:19:22.186" v="148"/>
        <pc:sldMkLst>
          <pc:docMk/>
          <pc:sldMk cId="2312561004" sldId="2147483586"/>
        </pc:sldMkLst>
      </pc:sldChg>
      <pc:sldChg chg="modSp add mod ord">
        <pc:chgData name="Strain, Mallory (A&amp;F)" userId="7f2f9c2c-98ee-44e6-afe8-8ea6a9111392" providerId="ADAL" clId="{A563F33E-2C43-4DEC-A7A9-F03B668599E2}" dt="2025-10-14T23:28:07.135" v="373" actId="20577"/>
        <pc:sldMkLst>
          <pc:docMk/>
          <pc:sldMk cId="1783730996" sldId="2147483587"/>
        </pc:sldMkLst>
        <pc:spChg chg="mod">
          <ac:chgData name="Strain, Mallory (A&amp;F)" userId="7f2f9c2c-98ee-44e6-afe8-8ea6a9111392" providerId="ADAL" clId="{A563F33E-2C43-4DEC-A7A9-F03B668599E2}" dt="2025-10-14T23:28:07.135" v="373" actId="20577"/>
          <ac:spMkLst>
            <pc:docMk/>
            <pc:sldMk cId="1783730996" sldId="2147483587"/>
            <ac:spMk id="2" creationId="{AD902F7E-BA1E-AB5C-1EA6-3401E47CEF6A}"/>
          </ac:spMkLst>
        </pc:spChg>
      </pc:sldChg>
      <pc:sldChg chg="delSp modSp add del mod">
        <pc:chgData name="Strain, Mallory (A&amp;F)" userId="7f2f9c2c-98ee-44e6-afe8-8ea6a9111392" providerId="ADAL" clId="{A563F33E-2C43-4DEC-A7A9-F03B668599E2}" dt="2025-10-14T23:27:44.239" v="356" actId="47"/>
        <pc:sldMkLst>
          <pc:docMk/>
          <pc:sldMk cId="4166408542" sldId="2147483587"/>
        </pc:sldMkLst>
        <pc:spChg chg="del mod">
          <ac:chgData name="Strain, Mallory (A&amp;F)" userId="7f2f9c2c-98ee-44e6-afe8-8ea6a9111392" providerId="ADAL" clId="{A563F33E-2C43-4DEC-A7A9-F03B668599E2}" dt="2025-10-14T23:27:41.978" v="355"/>
          <ac:spMkLst>
            <pc:docMk/>
            <pc:sldMk cId="4166408542" sldId="2147483587"/>
            <ac:spMk id="2" creationId="{7C1E818E-A5C5-1497-F331-C472133A8C7D}"/>
          </ac:spMkLst>
        </pc:spChg>
      </pc:sldChg>
    </pc:docChg>
  </pc:docChgLst>
  <pc:docChgLst>
    <pc:chgData name="Strain, Mallory (A&amp;F)" userId="S::mallory.strain@mass.gov::7f2f9c2c-98ee-44e6-afe8-8ea6a9111392" providerId="AD" clId="Web-{A1B84B51-079E-44E8-8DD3-9388231A0759}"/>
    <pc:docChg chg="delSld">
      <pc:chgData name="Strain, Mallory (A&amp;F)" userId="S::mallory.strain@mass.gov::7f2f9c2c-98ee-44e6-afe8-8ea6a9111392" providerId="AD" clId="Web-{A1B84B51-079E-44E8-8DD3-9388231A0759}" dt="2025-10-14T15:27:56.735" v="7"/>
      <pc:docMkLst>
        <pc:docMk/>
      </pc:docMkLst>
      <pc:sldChg chg="del">
        <pc:chgData name="Strain, Mallory (A&amp;F)" userId="S::mallory.strain@mass.gov::7f2f9c2c-98ee-44e6-afe8-8ea6a9111392" providerId="AD" clId="Web-{A1B84B51-079E-44E8-8DD3-9388231A0759}" dt="2025-10-14T15:26:44.110" v="2"/>
        <pc:sldMkLst>
          <pc:docMk/>
          <pc:sldMk cId="2784336257" sldId="271"/>
        </pc:sldMkLst>
      </pc:sldChg>
      <pc:sldChg chg="del">
        <pc:chgData name="Strain, Mallory (A&amp;F)" userId="S::mallory.strain@mass.gov::7f2f9c2c-98ee-44e6-afe8-8ea6a9111392" providerId="AD" clId="Web-{A1B84B51-079E-44E8-8DD3-9388231A0759}" dt="2025-10-14T15:26:44.782" v="3"/>
        <pc:sldMkLst>
          <pc:docMk/>
          <pc:sldMk cId="2571056734" sldId="279"/>
        </pc:sldMkLst>
      </pc:sldChg>
      <pc:sldChg chg="del">
        <pc:chgData name="Strain, Mallory (A&amp;F)" userId="S::mallory.strain@mass.gov::7f2f9c2c-98ee-44e6-afe8-8ea6a9111392" providerId="AD" clId="Web-{A1B84B51-079E-44E8-8DD3-9388231A0759}" dt="2025-10-14T15:27:56.735" v="7"/>
        <pc:sldMkLst>
          <pc:docMk/>
          <pc:sldMk cId="453920848" sldId="2147481244"/>
        </pc:sldMkLst>
      </pc:sldChg>
      <pc:sldChg chg="del">
        <pc:chgData name="Strain, Mallory (A&amp;F)" userId="S::mallory.strain@mass.gov::7f2f9c2c-98ee-44e6-afe8-8ea6a9111392" providerId="AD" clId="Web-{A1B84B51-079E-44E8-8DD3-9388231A0759}" dt="2025-10-14T15:27:30.063" v="6"/>
        <pc:sldMkLst>
          <pc:docMk/>
          <pc:sldMk cId="3247611535" sldId="2147481526"/>
        </pc:sldMkLst>
      </pc:sldChg>
      <pc:sldChg chg="del">
        <pc:chgData name="Strain, Mallory (A&amp;F)" userId="S::mallory.strain@mass.gov::7f2f9c2c-98ee-44e6-afe8-8ea6a9111392" providerId="AD" clId="Web-{A1B84B51-079E-44E8-8DD3-9388231A0759}" dt="2025-10-14T15:26:45.548" v="4"/>
        <pc:sldMkLst>
          <pc:docMk/>
          <pc:sldMk cId="869619033" sldId="2147483511"/>
        </pc:sldMkLst>
      </pc:sldChg>
      <pc:sldChg chg="del">
        <pc:chgData name="Strain, Mallory (A&amp;F)" userId="S::mallory.strain@mass.gov::7f2f9c2c-98ee-44e6-afe8-8ea6a9111392" providerId="AD" clId="Web-{A1B84B51-079E-44E8-8DD3-9388231A0759}" dt="2025-10-14T15:26:41.704" v="0"/>
        <pc:sldMkLst>
          <pc:docMk/>
          <pc:sldMk cId="1403604722" sldId="2147483545"/>
        </pc:sldMkLst>
      </pc:sldChg>
      <pc:sldChg chg="del">
        <pc:chgData name="Strain, Mallory (A&amp;F)" userId="S::mallory.strain@mass.gov::7f2f9c2c-98ee-44e6-afe8-8ea6a9111392" providerId="AD" clId="Web-{A1B84B51-079E-44E8-8DD3-9388231A0759}" dt="2025-10-14T15:26:43.235" v="1"/>
        <pc:sldMkLst>
          <pc:docMk/>
          <pc:sldMk cId="3587221270" sldId="2147483546"/>
        </pc:sldMkLst>
      </pc:sldChg>
      <pc:sldChg chg="del">
        <pc:chgData name="Strain, Mallory (A&amp;F)" userId="S::mallory.strain@mass.gov::7f2f9c2c-98ee-44e6-afe8-8ea6a9111392" providerId="AD" clId="Web-{A1B84B51-079E-44E8-8DD3-9388231A0759}" dt="2025-10-14T15:26:46.314" v="5"/>
        <pc:sldMkLst>
          <pc:docMk/>
          <pc:sldMk cId="3437681779" sldId="2147483547"/>
        </pc:sldMkLst>
      </pc:sldChg>
    </pc:docChg>
  </pc:docChgLst>
  <pc:docChgLst>
    <pc:chgData name="Fritz, Samuel B. (A&amp;F)" userId="0242f317-a9c7-40e6-a6e6-ebbdcde2729e" providerId="ADAL" clId="{87A3E101-2AC7-45DC-8F9F-214B08F494C0}"/>
    <pc:docChg chg="modSld">
      <pc:chgData name="Fritz, Samuel B. (A&amp;F)" userId="0242f317-a9c7-40e6-a6e6-ebbdcde2729e" providerId="ADAL" clId="{87A3E101-2AC7-45DC-8F9F-214B08F494C0}" dt="2025-10-24T21:06:52.200" v="6" actId="20577"/>
      <pc:docMkLst>
        <pc:docMk/>
      </pc:docMkLst>
      <pc:sldChg chg="modSp mod">
        <pc:chgData name="Fritz, Samuel B. (A&amp;F)" userId="0242f317-a9c7-40e6-a6e6-ebbdcde2729e" providerId="ADAL" clId="{87A3E101-2AC7-45DC-8F9F-214B08F494C0}" dt="2025-10-24T21:06:52.200" v="6" actId="20577"/>
        <pc:sldMkLst>
          <pc:docMk/>
          <pc:sldMk cId="4156858417" sldId="2147483524"/>
        </pc:sldMkLst>
        <pc:spChg chg="mod">
          <ac:chgData name="Fritz, Samuel B. (A&amp;F)" userId="0242f317-a9c7-40e6-a6e6-ebbdcde2729e" providerId="ADAL" clId="{87A3E101-2AC7-45DC-8F9F-214B08F494C0}" dt="2025-10-24T21:06:52.200" v="6" actId="20577"/>
          <ac:spMkLst>
            <pc:docMk/>
            <pc:sldMk cId="4156858417" sldId="2147483524"/>
            <ac:spMk id="11" creationId="{E1657694-30F0-93EC-A229-A63FCE0C1355}"/>
          </ac:spMkLst>
        </pc:spChg>
      </pc:sldChg>
    </pc:docChg>
  </pc:docChgLst>
</pc:chgInfo>
</file>

<file path=ppt/diagrams/_rels/data2.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svg"/><Relationship Id="rId1" Type="http://schemas.openxmlformats.org/officeDocument/2006/relationships/image" Target="../media/image6.png"/><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diagrams/_rels/drawing2.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svg"/><Relationship Id="rId1" Type="http://schemas.openxmlformats.org/officeDocument/2006/relationships/image" Target="../media/image6.png"/><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8DC64B-4E2D-44E2-9DF7-09484415FC99}"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F9389673-3CE4-4756-A454-FD7F094BB1FA}">
      <dgm:prSet phldr="0" custT="1"/>
      <dgm:spPr/>
      <dgm:t>
        <a:bodyPr/>
        <a:lstStyle/>
        <a:p>
          <a:pPr rtl="0">
            <a:lnSpc>
              <a:spcPct val="100000"/>
            </a:lnSpc>
          </a:pPr>
          <a:r>
            <a:rPr lang="en-US" sz="2000">
              <a:latin typeface="+mn-lt"/>
            </a:rPr>
            <a:t>Federal Matching Funds Legislation</a:t>
          </a:r>
        </a:p>
      </dgm:t>
    </dgm:pt>
    <dgm:pt modelId="{89BC19D7-C4DE-42E0-9082-DB0401E2A15B}" type="parTrans" cxnId="{1A21BCB6-EF5E-491F-A983-90E9FD537A51}">
      <dgm:prSet/>
      <dgm:spPr/>
      <dgm:t>
        <a:bodyPr/>
        <a:lstStyle/>
        <a:p>
          <a:endParaRPr lang="en-US" sz="2000"/>
        </a:p>
      </dgm:t>
    </dgm:pt>
    <dgm:pt modelId="{42520116-B6A3-476D-8AA5-F55B2CF7AC5E}" type="sibTrans" cxnId="{1A21BCB6-EF5E-491F-A983-90E9FD537A51}">
      <dgm:prSet/>
      <dgm:spPr/>
      <dgm:t>
        <a:bodyPr/>
        <a:lstStyle/>
        <a:p>
          <a:endParaRPr lang="en-US" sz="2000"/>
        </a:p>
      </dgm:t>
    </dgm:pt>
    <dgm:pt modelId="{9CD8F89A-A6B3-4175-9BCB-FB8D426F9326}">
      <dgm:prSet custT="1"/>
      <dgm:spPr/>
      <dgm:t>
        <a:bodyPr/>
        <a:lstStyle/>
        <a:p>
          <a:pPr rtl="0"/>
          <a:r>
            <a:rPr lang="en-US" sz="2000">
              <a:latin typeface="+mn-lt"/>
            </a:rPr>
            <a:t>Q&amp;A / Discussion</a:t>
          </a:r>
        </a:p>
      </dgm:t>
    </dgm:pt>
    <dgm:pt modelId="{8D1D619F-145B-476A-BED9-4B5C9DA18B71}" type="sibTrans" cxnId="{6762F825-E989-4956-B2F2-2B1CE8766227}">
      <dgm:prSet/>
      <dgm:spPr/>
      <dgm:t>
        <a:bodyPr/>
        <a:lstStyle/>
        <a:p>
          <a:endParaRPr lang="en-US" sz="2000"/>
        </a:p>
      </dgm:t>
    </dgm:pt>
    <dgm:pt modelId="{4B271377-646B-4282-970C-70F045735C0C}" type="parTrans" cxnId="{6762F825-E989-4956-B2F2-2B1CE8766227}">
      <dgm:prSet/>
      <dgm:spPr/>
      <dgm:t>
        <a:bodyPr/>
        <a:lstStyle/>
        <a:p>
          <a:endParaRPr lang="en-US" sz="2000"/>
        </a:p>
      </dgm:t>
    </dgm:pt>
    <dgm:pt modelId="{04480786-7A57-42F0-811C-D0F30D93C041}">
      <dgm:prSet phldr="0" custT="1"/>
      <dgm:spPr/>
      <dgm:t>
        <a:bodyPr/>
        <a:lstStyle/>
        <a:p>
          <a:pPr rtl="0"/>
          <a:r>
            <a:rPr lang="en-US" sz="2000">
              <a:latin typeface="+mn-lt"/>
            </a:rPr>
            <a:t>About FFIO</a:t>
          </a:r>
        </a:p>
      </dgm:t>
    </dgm:pt>
    <dgm:pt modelId="{4EEEDFA1-58BB-4C7E-8289-81BA44E808CB}" type="parTrans" cxnId="{A231580D-C10F-4E8A-B75B-1BD6FDD2BD18}">
      <dgm:prSet/>
      <dgm:spPr/>
      <dgm:t>
        <a:bodyPr/>
        <a:lstStyle/>
        <a:p>
          <a:endParaRPr lang="en-US" sz="2000"/>
        </a:p>
      </dgm:t>
    </dgm:pt>
    <dgm:pt modelId="{D2978AD3-37C2-403B-B3A1-A78E47E52F46}" type="sibTrans" cxnId="{A231580D-C10F-4E8A-B75B-1BD6FDD2BD18}">
      <dgm:prSet/>
      <dgm:spPr/>
      <dgm:t>
        <a:bodyPr/>
        <a:lstStyle/>
        <a:p>
          <a:endParaRPr lang="en-US" sz="2000"/>
        </a:p>
      </dgm:t>
    </dgm:pt>
    <dgm:pt modelId="{6FFA146C-84D5-4B6F-825E-B72737013D6D}">
      <dgm:prSet phldr="0" custT="1"/>
      <dgm:spPr/>
      <dgm:t>
        <a:bodyPr/>
        <a:lstStyle/>
        <a:p>
          <a:pPr algn="l"/>
          <a:r>
            <a:rPr lang="en-US" sz="2000">
              <a:solidFill>
                <a:prstClr val="black">
                  <a:hueOff val="0"/>
                  <a:satOff val="0"/>
                  <a:lumOff val="0"/>
                  <a:alphaOff val="0"/>
                </a:prstClr>
              </a:solidFill>
              <a:latin typeface="+mn-lt"/>
              <a:ea typeface="+mn-ea"/>
              <a:cs typeface="+mn-cs"/>
            </a:rPr>
            <a:t>FFIO’s Grant Programs</a:t>
          </a:r>
          <a:endParaRPr lang="en-US" sz="2000">
            <a:latin typeface="+mn-lt"/>
          </a:endParaRPr>
        </a:p>
      </dgm:t>
    </dgm:pt>
    <dgm:pt modelId="{7844B180-640E-4273-A9E7-2CDD32E05CBA}" type="parTrans" cxnId="{F1B450EC-F83A-4474-BCAD-55B8F00BF5F2}">
      <dgm:prSet/>
      <dgm:spPr/>
      <dgm:t>
        <a:bodyPr/>
        <a:lstStyle/>
        <a:p>
          <a:endParaRPr lang="en-US" sz="2000"/>
        </a:p>
      </dgm:t>
    </dgm:pt>
    <dgm:pt modelId="{FC4FEF22-6666-44CA-AA83-A9ADFE050682}" type="sibTrans" cxnId="{F1B450EC-F83A-4474-BCAD-55B8F00BF5F2}">
      <dgm:prSet/>
      <dgm:spPr/>
      <dgm:t>
        <a:bodyPr/>
        <a:lstStyle/>
        <a:p>
          <a:endParaRPr lang="en-US" sz="2000"/>
        </a:p>
      </dgm:t>
    </dgm:pt>
    <dgm:pt modelId="{EADA10E3-92DD-324D-BA3F-45E775622B9E}">
      <dgm:prSet custT="1"/>
      <dgm:spPr/>
      <dgm:t>
        <a:bodyPr/>
        <a:lstStyle/>
        <a:p>
          <a:r>
            <a:rPr lang="en-US" sz="2000" spc="200">
              <a:latin typeface="+mn-lt"/>
            </a:rPr>
            <a:t>Local Government Engagement</a:t>
          </a:r>
          <a:endParaRPr lang="en-GB" sz="2000">
            <a:latin typeface="+mn-lt"/>
          </a:endParaRPr>
        </a:p>
      </dgm:t>
    </dgm:pt>
    <dgm:pt modelId="{B28F6C76-5914-FE40-95A5-8F903D7FCF37}" type="parTrans" cxnId="{DE2A392E-17BE-4443-8149-44CB3ADA66B1}">
      <dgm:prSet/>
      <dgm:spPr/>
      <dgm:t>
        <a:bodyPr/>
        <a:lstStyle/>
        <a:p>
          <a:endParaRPr lang="en-GB" sz="2000"/>
        </a:p>
      </dgm:t>
    </dgm:pt>
    <dgm:pt modelId="{1E3252AC-DA2B-304B-A759-FE0CCE079FBE}" type="sibTrans" cxnId="{DE2A392E-17BE-4443-8149-44CB3ADA66B1}">
      <dgm:prSet/>
      <dgm:spPr/>
      <dgm:t>
        <a:bodyPr/>
        <a:lstStyle/>
        <a:p>
          <a:endParaRPr lang="en-GB" sz="2000"/>
        </a:p>
      </dgm:t>
    </dgm:pt>
    <dgm:pt modelId="{6FE81E67-A7CB-47BA-9386-7CEDB2B5380B}">
      <dgm:prSet phldr="0" custT="1"/>
      <dgm:spPr/>
      <dgm:t>
        <a:bodyPr/>
        <a:lstStyle/>
        <a:p>
          <a:pPr algn="l"/>
          <a:r>
            <a:rPr lang="en-US" sz="2000">
              <a:solidFill>
                <a:prstClr val="black">
                  <a:hueOff val="0"/>
                  <a:satOff val="0"/>
                  <a:lumOff val="0"/>
                  <a:alphaOff val="0"/>
                </a:prstClr>
              </a:solidFill>
              <a:latin typeface="+mn-lt"/>
              <a:ea typeface="+mn-ea"/>
              <a:cs typeface="+mn-cs"/>
            </a:rPr>
            <a:t>New Federal Grant Opportunities</a:t>
          </a:r>
          <a:endParaRPr lang="en-US" sz="2000">
            <a:latin typeface="+mn-lt"/>
          </a:endParaRPr>
        </a:p>
      </dgm:t>
    </dgm:pt>
    <dgm:pt modelId="{CED8E646-D958-4554-995C-76DA32EDD7E1}" type="parTrans" cxnId="{D4712C27-D35F-4631-9048-229ACE6E2106}">
      <dgm:prSet/>
      <dgm:spPr/>
      <dgm:t>
        <a:bodyPr/>
        <a:lstStyle/>
        <a:p>
          <a:endParaRPr lang="en-US"/>
        </a:p>
      </dgm:t>
    </dgm:pt>
    <dgm:pt modelId="{7A44DF5F-BF20-45C4-A9A5-D1B648DC8CBE}" type="sibTrans" cxnId="{D4712C27-D35F-4631-9048-229ACE6E2106}">
      <dgm:prSet/>
      <dgm:spPr/>
      <dgm:t>
        <a:bodyPr/>
        <a:lstStyle/>
        <a:p>
          <a:endParaRPr lang="en-US"/>
        </a:p>
      </dgm:t>
    </dgm:pt>
    <dgm:pt modelId="{29D59CA2-A147-4F42-BC07-3807C55B6E23}">
      <dgm:prSet phldr="0" custT="1"/>
      <dgm:spPr/>
      <dgm:t>
        <a:bodyPr/>
        <a:lstStyle/>
        <a:p>
          <a:pPr algn="l"/>
          <a:r>
            <a:rPr lang="en-US" sz="2000">
              <a:latin typeface="+mn-lt"/>
            </a:rPr>
            <a:t>Grantwell</a:t>
          </a:r>
        </a:p>
      </dgm:t>
    </dgm:pt>
    <dgm:pt modelId="{5A5BFB17-804F-44A1-BE3A-1AAF631C090C}" type="parTrans" cxnId="{463D2513-A0C3-4868-AD19-4D62021F8404}">
      <dgm:prSet/>
      <dgm:spPr/>
      <dgm:t>
        <a:bodyPr/>
        <a:lstStyle/>
        <a:p>
          <a:endParaRPr lang="en-US"/>
        </a:p>
      </dgm:t>
    </dgm:pt>
    <dgm:pt modelId="{95D04B92-7078-4854-8685-55C16F1678D0}" type="sibTrans" cxnId="{463D2513-A0C3-4868-AD19-4D62021F8404}">
      <dgm:prSet/>
      <dgm:spPr/>
      <dgm:t>
        <a:bodyPr/>
        <a:lstStyle/>
        <a:p>
          <a:endParaRPr lang="en-US"/>
        </a:p>
      </dgm:t>
    </dgm:pt>
    <dgm:pt modelId="{5F7411AA-BF88-4BD8-AE7B-13544A6FEDF7}" type="pres">
      <dgm:prSet presAssocID="{098DC64B-4E2D-44E2-9DF7-09484415FC99}" presName="vert0" presStyleCnt="0">
        <dgm:presLayoutVars>
          <dgm:dir/>
          <dgm:animOne val="branch"/>
          <dgm:animLvl val="lvl"/>
        </dgm:presLayoutVars>
      </dgm:prSet>
      <dgm:spPr/>
    </dgm:pt>
    <dgm:pt modelId="{6571B674-69EE-409B-914D-7D2EAE1473A3}" type="pres">
      <dgm:prSet presAssocID="{04480786-7A57-42F0-811C-D0F30D93C041}" presName="thickLine" presStyleLbl="alignNode1" presStyleIdx="0" presStyleCnt="7"/>
      <dgm:spPr/>
    </dgm:pt>
    <dgm:pt modelId="{99EF9E29-A0AC-48AA-976A-99EF82281E48}" type="pres">
      <dgm:prSet presAssocID="{04480786-7A57-42F0-811C-D0F30D93C041}" presName="horz1" presStyleCnt="0"/>
      <dgm:spPr/>
    </dgm:pt>
    <dgm:pt modelId="{033876F2-4573-48DE-B38C-14FA55582084}" type="pres">
      <dgm:prSet presAssocID="{04480786-7A57-42F0-811C-D0F30D93C041}" presName="tx1" presStyleLbl="revTx" presStyleIdx="0" presStyleCnt="7"/>
      <dgm:spPr/>
    </dgm:pt>
    <dgm:pt modelId="{45B45622-DFF6-4210-A419-E9AD0E21BB92}" type="pres">
      <dgm:prSet presAssocID="{04480786-7A57-42F0-811C-D0F30D93C041}" presName="vert1" presStyleCnt="0"/>
      <dgm:spPr/>
    </dgm:pt>
    <dgm:pt modelId="{5ADED652-3E0A-4D4C-BCAD-59477DBCEA60}" type="pres">
      <dgm:prSet presAssocID="{EADA10E3-92DD-324D-BA3F-45E775622B9E}" presName="thickLine" presStyleLbl="alignNode1" presStyleIdx="1" presStyleCnt="7"/>
      <dgm:spPr/>
    </dgm:pt>
    <dgm:pt modelId="{C7C62A17-F578-2846-916E-165231B7A2E8}" type="pres">
      <dgm:prSet presAssocID="{EADA10E3-92DD-324D-BA3F-45E775622B9E}" presName="horz1" presStyleCnt="0"/>
      <dgm:spPr/>
    </dgm:pt>
    <dgm:pt modelId="{EE9DE12F-2110-D447-95A9-FB79001D3523}" type="pres">
      <dgm:prSet presAssocID="{EADA10E3-92DD-324D-BA3F-45E775622B9E}" presName="tx1" presStyleLbl="revTx" presStyleIdx="1" presStyleCnt="7"/>
      <dgm:spPr/>
    </dgm:pt>
    <dgm:pt modelId="{315F2DBF-5DCE-144B-BC7D-88B0C80F1DF7}" type="pres">
      <dgm:prSet presAssocID="{EADA10E3-92DD-324D-BA3F-45E775622B9E}" presName="vert1" presStyleCnt="0"/>
      <dgm:spPr/>
    </dgm:pt>
    <dgm:pt modelId="{5EA078E5-D83B-4C7B-9388-D30175397E4B}" type="pres">
      <dgm:prSet presAssocID="{F9389673-3CE4-4756-A454-FD7F094BB1FA}" presName="thickLine" presStyleLbl="alignNode1" presStyleIdx="2" presStyleCnt="7"/>
      <dgm:spPr/>
    </dgm:pt>
    <dgm:pt modelId="{4DFCCA61-88AA-46A2-A7C6-26197BEFF600}" type="pres">
      <dgm:prSet presAssocID="{F9389673-3CE4-4756-A454-FD7F094BB1FA}" presName="horz1" presStyleCnt="0"/>
      <dgm:spPr/>
    </dgm:pt>
    <dgm:pt modelId="{5EFC1A20-8B95-442F-BAFF-F90F8F847D83}" type="pres">
      <dgm:prSet presAssocID="{F9389673-3CE4-4756-A454-FD7F094BB1FA}" presName="tx1" presStyleLbl="revTx" presStyleIdx="2" presStyleCnt="7"/>
      <dgm:spPr/>
    </dgm:pt>
    <dgm:pt modelId="{601AD9F4-D459-461A-B5F9-0A6CDDE2C74B}" type="pres">
      <dgm:prSet presAssocID="{F9389673-3CE4-4756-A454-FD7F094BB1FA}" presName="vert1" presStyleCnt="0"/>
      <dgm:spPr/>
    </dgm:pt>
    <dgm:pt modelId="{DA940355-1F91-41FC-AB0C-B939F04CF7DC}" type="pres">
      <dgm:prSet presAssocID="{6FFA146C-84D5-4B6F-825E-B72737013D6D}" presName="thickLine" presStyleLbl="alignNode1" presStyleIdx="3" presStyleCnt="7"/>
      <dgm:spPr/>
    </dgm:pt>
    <dgm:pt modelId="{51FA6B31-984F-40EC-BFF3-68C3A50DB398}" type="pres">
      <dgm:prSet presAssocID="{6FFA146C-84D5-4B6F-825E-B72737013D6D}" presName="horz1" presStyleCnt="0"/>
      <dgm:spPr/>
    </dgm:pt>
    <dgm:pt modelId="{56BB8A6B-4C45-48D7-ACD7-EF00673E2F1F}" type="pres">
      <dgm:prSet presAssocID="{6FFA146C-84D5-4B6F-825E-B72737013D6D}" presName="tx1" presStyleLbl="revTx" presStyleIdx="3" presStyleCnt="7"/>
      <dgm:spPr/>
    </dgm:pt>
    <dgm:pt modelId="{B3B0789F-498D-444E-AA92-D08455D0D716}" type="pres">
      <dgm:prSet presAssocID="{6FFA146C-84D5-4B6F-825E-B72737013D6D}" presName="vert1" presStyleCnt="0"/>
      <dgm:spPr/>
    </dgm:pt>
    <dgm:pt modelId="{E53B4472-975A-473E-8C08-61C613FF4CC1}" type="pres">
      <dgm:prSet presAssocID="{6FE81E67-A7CB-47BA-9386-7CEDB2B5380B}" presName="thickLine" presStyleLbl="alignNode1" presStyleIdx="4" presStyleCnt="7"/>
      <dgm:spPr/>
    </dgm:pt>
    <dgm:pt modelId="{A13EFBA2-0535-4AF1-87F4-B2DC5C480AEB}" type="pres">
      <dgm:prSet presAssocID="{6FE81E67-A7CB-47BA-9386-7CEDB2B5380B}" presName="horz1" presStyleCnt="0"/>
      <dgm:spPr/>
    </dgm:pt>
    <dgm:pt modelId="{357D77D7-AA48-4935-B34A-87D7AC5E868A}" type="pres">
      <dgm:prSet presAssocID="{6FE81E67-A7CB-47BA-9386-7CEDB2B5380B}" presName="tx1" presStyleLbl="revTx" presStyleIdx="4" presStyleCnt="7"/>
      <dgm:spPr/>
    </dgm:pt>
    <dgm:pt modelId="{7B320ABA-E516-4902-93D8-EF30D6DFCE92}" type="pres">
      <dgm:prSet presAssocID="{6FE81E67-A7CB-47BA-9386-7CEDB2B5380B}" presName="vert1" presStyleCnt="0"/>
      <dgm:spPr/>
    </dgm:pt>
    <dgm:pt modelId="{853B043F-BFC6-45E2-8D2B-34A5D205D485}" type="pres">
      <dgm:prSet presAssocID="{29D59CA2-A147-4F42-BC07-3807C55B6E23}" presName="thickLine" presStyleLbl="alignNode1" presStyleIdx="5" presStyleCnt="7"/>
      <dgm:spPr/>
    </dgm:pt>
    <dgm:pt modelId="{4C17B74C-53F1-4F84-9A23-92E2D08A58C4}" type="pres">
      <dgm:prSet presAssocID="{29D59CA2-A147-4F42-BC07-3807C55B6E23}" presName="horz1" presStyleCnt="0"/>
      <dgm:spPr/>
    </dgm:pt>
    <dgm:pt modelId="{22D5C832-242D-4638-AE0D-A80548958863}" type="pres">
      <dgm:prSet presAssocID="{29D59CA2-A147-4F42-BC07-3807C55B6E23}" presName="tx1" presStyleLbl="revTx" presStyleIdx="5" presStyleCnt="7"/>
      <dgm:spPr/>
    </dgm:pt>
    <dgm:pt modelId="{D393336C-9873-4161-881F-D12B9012047A}" type="pres">
      <dgm:prSet presAssocID="{29D59CA2-A147-4F42-BC07-3807C55B6E23}" presName="vert1" presStyleCnt="0"/>
      <dgm:spPr/>
    </dgm:pt>
    <dgm:pt modelId="{07309E4B-D895-4811-8C7D-BBE793C6B3C3}" type="pres">
      <dgm:prSet presAssocID="{9CD8F89A-A6B3-4175-9BCB-FB8D426F9326}" presName="thickLine" presStyleLbl="alignNode1" presStyleIdx="6" presStyleCnt="7"/>
      <dgm:spPr/>
    </dgm:pt>
    <dgm:pt modelId="{93CE2652-4237-4B63-9633-CBC55F81E41B}" type="pres">
      <dgm:prSet presAssocID="{9CD8F89A-A6B3-4175-9BCB-FB8D426F9326}" presName="horz1" presStyleCnt="0"/>
      <dgm:spPr/>
    </dgm:pt>
    <dgm:pt modelId="{71F24777-2AA6-456F-B41E-CE00E6F86F5E}" type="pres">
      <dgm:prSet presAssocID="{9CD8F89A-A6B3-4175-9BCB-FB8D426F9326}" presName="tx1" presStyleLbl="revTx" presStyleIdx="6" presStyleCnt="7"/>
      <dgm:spPr/>
    </dgm:pt>
    <dgm:pt modelId="{F28CEE34-5DFB-4C22-9775-D9D6A4D0B4EA}" type="pres">
      <dgm:prSet presAssocID="{9CD8F89A-A6B3-4175-9BCB-FB8D426F9326}" presName="vert1" presStyleCnt="0"/>
      <dgm:spPr/>
    </dgm:pt>
  </dgm:ptLst>
  <dgm:cxnLst>
    <dgm:cxn modelId="{A231580D-C10F-4E8A-B75B-1BD6FDD2BD18}" srcId="{098DC64B-4E2D-44E2-9DF7-09484415FC99}" destId="{04480786-7A57-42F0-811C-D0F30D93C041}" srcOrd="0" destOrd="0" parTransId="{4EEEDFA1-58BB-4C7E-8289-81BA44E808CB}" sibTransId="{D2978AD3-37C2-403B-B3A1-A78E47E52F46}"/>
    <dgm:cxn modelId="{463D2513-A0C3-4868-AD19-4D62021F8404}" srcId="{098DC64B-4E2D-44E2-9DF7-09484415FC99}" destId="{29D59CA2-A147-4F42-BC07-3807C55B6E23}" srcOrd="5" destOrd="0" parTransId="{5A5BFB17-804F-44A1-BE3A-1AAF631C090C}" sibTransId="{95D04B92-7078-4854-8685-55C16F1678D0}"/>
    <dgm:cxn modelId="{B483B423-488F-4BB3-93E5-FD20D498E31F}" type="presOf" srcId="{29D59CA2-A147-4F42-BC07-3807C55B6E23}" destId="{22D5C832-242D-4638-AE0D-A80548958863}" srcOrd="0" destOrd="0" presId="urn:microsoft.com/office/officeart/2008/layout/LinedList"/>
    <dgm:cxn modelId="{6762F825-E989-4956-B2F2-2B1CE8766227}" srcId="{098DC64B-4E2D-44E2-9DF7-09484415FC99}" destId="{9CD8F89A-A6B3-4175-9BCB-FB8D426F9326}" srcOrd="6" destOrd="0" parTransId="{4B271377-646B-4282-970C-70F045735C0C}" sibTransId="{8D1D619F-145B-476A-BED9-4B5C9DA18B71}"/>
    <dgm:cxn modelId="{D4712C27-D35F-4631-9048-229ACE6E2106}" srcId="{098DC64B-4E2D-44E2-9DF7-09484415FC99}" destId="{6FE81E67-A7CB-47BA-9386-7CEDB2B5380B}" srcOrd="4" destOrd="0" parTransId="{CED8E646-D958-4554-995C-76DA32EDD7E1}" sibTransId="{7A44DF5F-BF20-45C4-A9A5-D1B648DC8CBE}"/>
    <dgm:cxn modelId="{DE2A392E-17BE-4443-8149-44CB3ADA66B1}" srcId="{098DC64B-4E2D-44E2-9DF7-09484415FC99}" destId="{EADA10E3-92DD-324D-BA3F-45E775622B9E}" srcOrd="1" destOrd="0" parTransId="{B28F6C76-5914-FE40-95A5-8F903D7FCF37}" sibTransId="{1E3252AC-DA2B-304B-A759-FE0CCE079FBE}"/>
    <dgm:cxn modelId="{A3BDF95F-4208-4547-9D10-8A21CAA4D71A}" type="presOf" srcId="{EADA10E3-92DD-324D-BA3F-45E775622B9E}" destId="{EE9DE12F-2110-D447-95A9-FB79001D3523}" srcOrd="0" destOrd="0" presId="urn:microsoft.com/office/officeart/2008/layout/LinedList"/>
    <dgm:cxn modelId="{CD7F7E53-A68B-45B1-A791-8A72DDD865BF}" type="presOf" srcId="{9CD8F89A-A6B3-4175-9BCB-FB8D426F9326}" destId="{71F24777-2AA6-456F-B41E-CE00E6F86F5E}" srcOrd="0" destOrd="0" presId="urn:microsoft.com/office/officeart/2008/layout/LinedList"/>
    <dgm:cxn modelId="{B6DACE91-8115-4A61-94DE-228CF8F46329}" type="presOf" srcId="{F9389673-3CE4-4756-A454-FD7F094BB1FA}" destId="{5EFC1A20-8B95-442F-BAFF-F90F8F847D83}" srcOrd="0" destOrd="0" presId="urn:microsoft.com/office/officeart/2008/layout/LinedList"/>
    <dgm:cxn modelId="{ADB7C192-89DC-4A74-9246-E3362F43FD19}" type="presOf" srcId="{04480786-7A57-42F0-811C-D0F30D93C041}" destId="{033876F2-4573-48DE-B38C-14FA55582084}" srcOrd="0" destOrd="0" presId="urn:microsoft.com/office/officeart/2008/layout/LinedList"/>
    <dgm:cxn modelId="{1A21BCB6-EF5E-491F-A983-90E9FD537A51}" srcId="{098DC64B-4E2D-44E2-9DF7-09484415FC99}" destId="{F9389673-3CE4-4756-A454-FD7F094BB1FA}" srcOrd="2" destOrd="0" parTransId="{89BC19D7-C4DE-42E0-9082-DB0401E2A15B}" sibTransId="{42520116-B6A3-476D-8AA5-F55B2CF7AC5E}"/>
    <dgm:cxn modelId="{76E272BF-2791-4C2E-AFF1-A3ADDC33DC3D}" type="presOf" srcId="{6FFA146C-84D5-4B6F-825E-B72737013D6D}" destId="{56BB8A6B-4C45-48D7-ACD7-EF00673E2F1F}" srcOrd="0" destOrd="0" presId="urn:microsoft.com/office/officeart/2008/layout/LinedList"/>
    <dgm:cxn modelId="{EBD4CCC5-F445-4509-9E96-CBF1FDAC623A}" type="presOf" srcId="{098DC64B-4E2D-44E2-9DF7-09484415FC99}" destId="{5F7411AA-BF88-4BD8-AE7B-13544A6FEDF7}" srcOrd="0" destOrd="0" presId="urn:microsoft.com/office/officeart/2008/layout/LinedList"/>
    <dgm:cxn modelId="{E75AC2CA-B5E4-4896-8555-18E75BA34254}" type="presOf" srcId="{6FE81E67-A7CB-47BA-9386-7CEDB2B5380B}" destId="{357D77D7-AA48-4935-B34A-87D7AC5E868A}" srcOrd="0" destOrd="0" presId="urn:microsoft.com/office/officeart/2008/layout/LinedList"/>
    <dgm:cxn modelId="{F1B450EC-F83A-4474-BCAD-55B8F00BF5F2}" srcId="{098DC64B-4E2D-44E2-9DF7-09484415FC99}" destId="{6FFA146C-84D5-4B6F-825E-B72737013D6D}" srcOrd="3" destOrd="0" parTransId="{7844B180-640E-4273-A9E7-2CDD32E05CBA}" sibTransId="{FC4FEF22-6666-44CA-AA83-A9ADFE050682}"/>
    <dgm:cxn modelId="{812015E5-C4F5-4C16-BCF6-4B0C336313E8}" type="presParOf" srcId="{5F7411AA-BF88-4BD8-AE7B-13544A6FEDF7}" destId="{6571B674-69EE-409B-914D-7D2EAE1473A3}" srcOrd="0" destOrd="0" presId="urn:microsoft.com/office/officeart/2008/layout/LinedList"/>
    <dgm:cxn modelId="{3F65A656-63FC-4C98-9B80-CB2ADBB0E78B}" type="presParOf" srcId="{5F7411AA-BF88-4BD8-AE7B-13544A6FEDF7}" destId="{99EF9E29-A0AC-48AA-976A-99EF82281E48}" srcOrd="1" destOrd="0" presId="urn:microsoft.com/office/officeart/2008/layout/LinedList"/>
    <dgm:cxn modelId="{EC2C1A8A-7E95-407B-9577-1377F327AA0F}" type="presParOf" srcId="{99EF9E29-A0AC-48AA-976A-99EF82281E48}" destId="{033876F2-4573-48DE-B38C-14FA55582084}" srcOrd="0" destOrd="0" presId="urn:microsoft.com/office/officeart/2008/layout/LinedList"/>
    <dgm:cxn modelId="{D1587287-2FB5-4176-9221-2F0C676823CF}" type="presParOf" srcId="{99EF9E29-A0AC-48AA-976A-99EF82281E48}" destId="{45B45622-DFF6-4210-A419-E9AD0E21BB92}" srcOrd="1" destOrd="0" presId="urn:microsoft.com/office/officeart/2008/layout/LinedList"/>
    <dgm:cxn modelId="{DAE9AAA1-81E2-754E-B750-2E6C24641D2A}" type="presParOf" srcId="{5F7411AA-BF88-4BD8-AE7B-13544A6FEDF7}" destId="{5ADED652-3E0A-4D4C-BCAD-59477DBCEA60}" srcOrd="2" destOrd="0" presId="urn:microsoft.com/office/officeart/2008/layout/LinedList"/>
    <dgm:cxn modelId="{F0238DA4-902E-4D41-BE7F-6A5A6B3896F6}" type="presParOf" srcId="{5F7411AA-BF88-4BD8-AE7B-13544A6FEDF7}" destId="{C7C62A17-F578-2846-916E-165231B7A2E8}" srcOrd="3" destOrd="0" presId="urn:microsoft.com/office/officeart/2008/layout/LinedList"/>
    <dgm:cxn modelId="{BCC378D7-0EAE-D244-912F-F4D3B7F27260}" type="presParOf" srcId="{C7C62A17-F578-2846-916E-165231B7A2E8}" destId="{EE9DE12F-2110-D447-95A9-FB79001D3523}" srcOrd="0" destOrd="0" presId="urn:microsoft.com/office/officeart/2008/layout/LinedList"/>
    <dgm:cxn modelId="{E576FDAF-A813-354E-8017-1FF662DD4835}" type="presParOf" srcId="{C7C62A17-F578-2846-916E-165231B7A2E8}" destId="{315F2DBF-5DCE-144B-BC7D-88B0C80F1DF7}" srcOrd="1" destOrd="0" presId="urn:microsoft.com/office/officeart/2008/layout/LinedList"/>
    <dgm:cxn modelId="{DF7450E6-C2E1-4E61-8AA0-D615ED1F43B5}" type="presParOf" srcId="{5F7411AA-BF88-4BD8-AE7B-13544A6FEDF7}" destId="{5EA078E5-D83B-4C7B-9388-D30175397E4B}" srcOrd="4" destOrd="0" presId="urn:microsoft.com/office/officeart/2008/layout/LinedList"/>
    <dgm:cxn modelId="{08653764-35DF-4BBF-9ED6-D32C0EAD729E}" type="presParOf" srcId="{5F7411AA-BF88-4BD8-AE7B-13544A6FEDF7}" destId="{4DFCCA61-88AA-46A2-A7C6-26197BEFF600}" srcOrd="5" destOrd="0" presId="urn:microsoft.com/office/officeart/2008/layout/LinedList"/>
    <dgm:cxn modelId="{4FDC48EF-3FB4-441E-9CB9-7AE5FD903C05}" type="presParOf" srcId="{4DFCCA61-88AA-46A2-A7C6-26197BEFF600}" destId="{5EFC1A20-8B95-442F-BAFF-F90F8F847D83}" srcOrd="0" destOrd="0" presId="urn:microsoft.com/office/officeart/2008/layout/LinedList"/>
    <dgm:cxn modelId="{2AD3C70E-40EC-4013-ADF4-5014C09DCA65}" type="presParOf" srcId="{4DFCCA61-88AA-46A2-A7C6-26197BEFF600}" destId="{601AD9F4-D459-461A-B5F9-0A6CDDE2C74B}" srcOrd="1" destOrd="0" presId="urn:microsoft.com/office/officeart/2008/layout/LinedList"/>
    <dgm:cxn modelId="{D7DCD055-B6F7-4915-9C96-7DFB5C62C6BF}" type="presParOf" srcId="{5F7411AA-BF88-4BD8-AE7B-13544A6FEDF7}" destId="{DA940355-1F91-41FC-AB0C-B939F04CF7DC}" srcOrd="6" destOrd="0" presId="urn:microsoft.com/office/officeart/2008/layout/LinedList"/>
    <dgm:cxn modelId="{E054DFC7-1AB4-4931-8F93-140E6661EC77}" type="presParOf" srcId="{5F7411AA-BF88-4BD8-AE7B-13544A6FEDF7}" destId="{51FA6B31-984F-40EC-BFF3-68C3A50DB398}" srcOrd="7" destOrd="0" presId="urn:microsoft.com/office/officeart/2008/layout/LinedList"/>
    <dgm:cxn modelId="{D14988EB-CDDD-426B-B029-E72627D822F3}" type="presParOf" srcId="{51FA6B31-984F-40EC-BFF3-68C3A50DB398}" destId="{56BB8A6B-4C45-48D7-ACD7-EF00673E2F1F}" srcOrd="0" destOrd="0" presId="urn:microsoft.com/office/officeart/2008/layout/LinedList"/>
    <dgm:cxn modelId="{5F1B84E1-3843-4928-AD96-29A1BEB3EC46}" type="presParOf" srcId="{51FA6B31-984F-40EC-BFF3-68C3A50DB398}" destId="{B3B0789F-498D-444E-AA92-D08455D0D716}" srcOrd="1" destOrd="0" presId="urn:microsoft.com/office/officeart/2008/layout/LinedList"/>
    <dgm:cxn modelId="{E5AA4A9D-5E42-429B-BDF3-6621B3F61F64}" type="presParOf" srcId="{5F7411AA-BF88-4BD8-AE7B-13544A6FEDF7}" destId="{E53B4472-975A-473E-8C08-61C613FF4CC1}" srcOrd="8" destOrd="0" presId="urn:microsoft.com/office/officeart/2008/layout/LinedList"/>
    <dgm:cxn modelId="{B333F403-5981-4889-AF19-4750C8415D44}" type="presParOf" srcId="{5F7411AA-BF88-4BD8-AE7B-13544A6FEDF7}" destId="{A13EFBA2-0535-4AF1-87F4-B2DC5C480AEB}" srcOrd="9" destOrd="0" presId="urn:microsoft.com/office/officeart/2008/layout/LinedList"/>
    <dgm:cxn modelId="{16D9859B-02F9-4DC0-ABAC-59CA89CB769C}" type="presParOf" srcId="{A13EFBA2-0535-4AF1-87F4-B2DC5C480AEB}" destId="{357D77D7-AA48-4935-B34A-87D7AC5E868A}" srcOrd="0" destOrd="0" presId="urn:microsoft.com/office/officeart/2008/layout/LinedList"/>
    <dgm:cxn modelId="{DA8A25F3-D57E-426E-86D4-67E0220C7304}" type="presParOf" srcId="{A13EFBA2-0535-4AF1-87F4-B2DC5C480AEB}" destId="{7B320ABA-E516-4902-93D8-EF30D6DFCE92}" srcOrd="1" destOrd="0" presId="urn:microsoft.com/office/officeart/2008/layout/LinedList"/>
    <dgm:cxn modelId="{61DCE514-134B-4F90-9D4F-240A11EBE80F}" type="presParOf" srcId="{5F7411AA-BF88-4BD8-AE7B-13544A6FEDF7}" destId="{853B043F-BFC6-45E2-8D2B-34A5D205D485}" srcOrd="10" destOrd="0" presId="urn:microsoft.com/office/officeart/2008/layout/LinedList"/>
    <dgm:cxn modelId="{DCA46B35-DF1E-4F9B-AC2D-843B68AC28FD}" type="presParOf" srcId="{5F7411AA-BF88-4BD8-AE7B-13544A6FEDF7}" destId="{4C17B74C-53F1-4F84-9A23-92E2D08A58C4}" srcOrd="11" destOrd="0" presId="urn:microsoft.com/office/officeart/2008/layout/LinedList"/>
    <dgm:cxn modelId="{CADA10CF-8C6F-4275-933D-ECAC0F95FEC8}" type="presParOf" srcId="{4C17B74C-53F1-4F84-9A23-92E2D08A58C4}" destId="{22D5C832-242D-4638-AE0D-A80548958863}" srcOrd="0" destOrd="0" presId="urn:microsoft.com/office/officeart/2008/layout/LinedList"/>
    <dgm:cxn modelId="{910E2F41-B0CE-4F03-A475-2A2D16DB21A7}" type="presParOf" srcId="{4C17B74C-53F1-4F84-9A23-92E2D08A58C4}" destId="{D393336C-9873-4161-881F-D12B9012047A}" srcOrd="1" destOrd="0" presId="urn:microsoft.com/office/officeart/2008/layout/LinedList"/>
    <dgm:cxn modelId="{39B95567-6439-4115-B1B1-A80FAE3707B2}" type="presParOf" srcId="{5F7411AA-BF88-4BD8-AE7B-13544A6FEDF7}" destId="{07309E4B-D895-4811-8C7D-BBE793C6B3C3}" srcOrd="12" destOrd="0" presId="urn:microsoft.com/office/officeart/2008/layout/LinedList"/>
    <dgm:cxn modelId="{EA6F02F8-5BD1-4C8F-BB86-FFE9C2D7DEE7}" type="presParOf" srcId="{5F7411AA-BF88-4BD8-AE7B-13544A6FEDF7}" destId="{93CE2652-4237-4B63-9633-CBC55F81E41B}" srcOrd="13" destOrd="0" presId="urn:microsoft.com/office/officeart/2008/layout/LinedList"/>
    <dgm:cxn modelId="{082ACC9F-E758-4F4E-9740-4A1095AA2F35}" type="presParOf" srcId="{93CE2652-4237-4B63-9633-CBC55F81E41B}" destId="{71F24777-2AA6-456F-B41E-CE00E6F86F5E}" srcOrd="0" destOrd="0" presId="urn:microsoft.com/office/officeart/2008/layout/LinedList"/>
    <dgm:cxn modelId="{05E4AA62-3604-482C-9328-DD40BAFEDE64}" type="presParOf" srcId="{93CE2652-4237-4B63-9633-CBC55F81E41B}" destId="{F28CEE34-5DFB-4C22-9775-D9D6A4D0B4E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1E43AC7-173D-456B-AA05-BC2BCC031A9F}"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D310FC57-F43C-4E2C-9B6D-9DC71D95C4F8}">
      <dgm:prSet custT="1"/>
      <dgm:spPr/>
      <dgm:t>
        <a:bodyPr/>
        <a:lstStyle/>
        <a:p>
          <a:pPr>
            <a:lnSpc>
              <a:spcPct val="100000"/>
            </a:lnSpc>
          </a:pPr>
          <a:r>
            <a:rPr lang="en-US" sz="1600" b="1" i="0"/>
            <a:t>Leading bi-weekly meetings of the interagency Advisory Council on Federal Funds and Infrastructure</a:t>
          </a:r>
          <a:endParaRPr lang="en-US" sz="1600" b="1"/>
        </a:p>
      </dgm:t>
    </dgm:pt>
    <dgm:pt modelId="{0E5D1605-1CFC-43E5-9494-6059296171F1}" type="parTrans" cxnId="{C6D3471D-2A4F-4F81-B30F-AEA358F90A79}">
      <dgm:prSet/>
      <dgm:spPr/>
      <dgm:t>
        <a:bodyPr/>
        <a:lstStyle/>
        <a:p>
          <a:endParaRPr lang="en-US"/>
        </a:p>
      </dgm:t>
    </dgm:pt>
    <dgm:pt modelId="{BBD1174B-380A-46A3-BB91-AF4D4C8C829A}" type="sibTrans" cxnId="{C6D3471D-2A4F-4F81-B30F-AEA358F90A79}">
      <dgm:prSet/>
      <dgm:spPr/>
      <dgm:t>
        <a:bodyPr/>
        <a:lstStyle/>
        <a:p>
          <a:endParaRPr lang="en-US"/>
        </a:p>
      </dgm:t>
    </dgm:pt>
    <dgm:pt modelId="{645D015E-3619-4B81-950F-1C544B660094}">
      <dgm:prSet custT="1"/>
      <dgm:spPr/>
      <dgm:t>
        <a:bodyPr/>
        <a:lstStyle/>
        <a:p>
          <a:pPr>
            <a:lnSpc>
              <a:spcPct val="100000"/>
            </a:lnSpc>
          </a:pPr>
          <a:r>
            <a:rPr lang="en-US" sz="1600" b="1" i="0"/>
            <a:t>Identifying and tracking key federal funding opportunities </a:t>
          </a:r>
          <a:r>
            <a:rPr lang="en-US" sz="1600" b="1"/>
            <a:t>and Massachusetts applications through the State Clearinghouse</a:t>
          </a:r>
          <a:endParaRPr lang="en-US" sz="1600"/>
        </a:p>
      </dgm:t>
    </dgm:pt>
    <dgm:pt modelId="{F3311785-0947-4D54-8B94-64CA474DAD91}" type="parTrans" cxnId="{D1C6AA23-A736-4E26-8749-FDCC29458FB9}">
      <dgm:prSet/>
      <dgm:spPr/>
      <dgm:t>
        <a:bodyPr/>
        <a:lstStyle/>
        <a:p>
          <a:endParaRPr lang="en-US"/>
        </a:p>
      </dgm:t>
    </dgm:pt>
    <dgm:pt modelId="{B48388A5-17F9-4520-9B6E-350D82B6B47E}" type="sibTrans" cxnId="{D1C6AA23-A736-4E26-8749-FDCC29458FB9}">
      <dgm:prSet/>
      <dgm:spPr/>
      <dgm:t>
        <a:bodyPr/>
        <a:lstStyle/>
        <a:p>
          <a:endParaRPr lang="en-US"/>
        </a:p>
      </dgm:t>
    </dgm:pt>
    <dgm:pt modelId="{86F5EE8F-A5A3-4CF1-9857-3D90C2A6977D}">
      <dgm:prSet custT="1"/>
      <dgm:spPr/>
      <dgm:t>
        <a:bodyPr/>
        <a:lstStyle/>
        <a:p>
          <a:pPr>
            <a:lnSpc>
              <a:spcPct val="100000"/>
            </a:lnSpc>
          </a:pPr>
          <a:r>
            <a:rPr lang="en-US" sz="1600" b="1"/>
            <a:t>Implementing the Federal Match legislation (</a:t>
          </a:r>
          <a:r>
            <a:rPr lang="en-US" sz="1600" b="1" i="1"/>
            <a:t>Chapter 214 of the Acts of 2024)</a:t>
          </a:r>
          <a:endParaRPr lang="en-US" sz="1600" b="1"/>
        </a:p>
      </dgm:t>
    </dgm:pt>
    <dgm:pt modelId="{63B5BC1E-BA1A-43C9-AD52-9D99D747CC5F}" type="parTrans" cxnId="{55D36FA9-47B9-4FB7-9D87-815130DE10B4}">
      <dgm:prSet/>
      <dgm:spPr/>
      <dgm:t>
        <a:bodyPr/>
        <a:lstStyle/>
        <a:p>
          <a:endParaRPr lang="en-US"/>
        </a:p>
      </dgm:t>
    </dgm:pt>
    <dgm:pt modelId="{38F48130-8FE7-484D-8F12-95980384125D}" type="sibTrans" cxnId="{55D36FA9-47B9-4FB7-9D87-815130DE10B4}">
      <dgm:prSet/>
      <dgm:spPr/>
      <dgm:t>
        <a:bodyPr/>
        <a:lstStyle/>
        <a:p>
          <a:endParaRPr lang="en-US"/>
        </a:p>
      </dgm:t>
    </dgm:pt>
    <dgm:pt modelId="{7CE94679-2E84-4BAD-AB15-EB3F167E6A46}">
      <dgm:prSet custT="1"/>
      <dgm:spPr/>
      <dgm:t>
        <a:bodyPr/>
        <a:lstStyle/>
        <a:p>
          <a:pPr>
            <a:lnSpc>
              <a:spcPct val="100000"/>
            </a:lnSpc>
          </a:pPr>
          <a:r>
            <a:rPr lang="en-US" sz="1600" b="1"/>
            <a:t>Leading the Massachusetts Federal Funds Partnership and other meetings to support local governments in their applications for federal funding</a:t>
          </a:r>
        </a:p>
      </dgm:t>
    </dgm:pt>
    <dgm:pt modelId="{700FB485-963E-4EFD-900F-1742F5BCE2D2}" type="parTrans" cxnId="{340918A1-2A97-4CC7-9C47-1772ADE22805}">
      <dgm:prSet/>
      <dgm:spPr/>
      <dgm:t>
        <a:bodyPr/>
        <a:lstStyle/>
        <a:p>
          <a:endParaRPr lang="en-US"/>
        </a:p>
      </dgm:t>
    </dgm:pt>
    <dgm:pt modelId="{39C7C336-98CB-4C86-AC99-9EAF4D4F2ED6}" type="sibTrans" cxnId="{340918A1-2A97-4CC7-9C47-1772ADE22805}">
      <dgm:prSet/>
      <dgm:spPr/>
      <dgm:t>
        <a:bodyPr/>
        <a:lstStyle/>
        <a:p>
          <a:endParaRPr lang="en-US"/>
        </a:p>
      </dgm:t>
    </dgm:pt>
    <dgm:pt modelId="{3CD48AE7-D4F6-4B3D-B68E-EF7140BC6B9E}" type="pres">
      <dgm:prSet presAssocID="{31E43AC7-173D-456B-AA05-BC2BCC031A9F}" presName="root" presStyleCnt="0">
        <dgm:presLayoutVars>
          <dgm:dir/>
          <dgm:resizeHandles val="exact"/>
        </dgm:presLayoutVars>
      </dgm:prSet>
      <dgm:spPr/>
    </dgm:pt>
    <dgm:pt modelId="{0DD012EC-9339-4144-9F8C-DEE7EE016DE0}" type="pres">
      <dgm:prSet presAssocID="{645D015E-3619-4B81-950F-1C544B660094}" presName="compNode" presStyleCnt="0"/>
      <dgm:spPr/>
    </dgm:pt>
    <dgm:pt modelId="{E14C0CFE-CB0A-44B3-89C8-D749A9E1B18C}" type="pres">
      <dgm:prSet presAssocID="{645D015E-3619-4B81-950F-1C544B660094}" presName="bgRect" presStyleLbl="bgShp" presStyleIdx="0" presStyleCnt="4" custLinFactNeighborX="3970" custLinFactNeighborY="-811"/>
      <dgm:spPr/>
    </dgm:pt>
    <dgm:pt modelId="{D88E8319-B6D5-49D3-B540-92B6D9A64BEC}" type="pres">
      <dgm:prSet presAssocID="{645D015E-3619-4B81-950F-1C544B660094}"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Checkbox Checked with solid fill"/>
        </a:ext>
      </dgm:extLst>
    </dgm:pt>
    <dgm:pt modelId="{41321DAC-A7EE-4AE2-9DC7-D1923CA5030E}" type="pres">
      <dgm:prSet presAssocID="{645D015E-3619-4B81-950F-1C544B660094}" presName="spaceRect" presStyleCnt="0"/>
      <dgm:spPr/>
    </dgm:pt>
    <dgm:pt modelId="{3A883FDD-2842-4E49-87E1-009417EEDE74}" type="pres">
      <dgm:prSet presAssocID="{645D015E-3619-4B81-950F-1C544B660094}" presName="parTx" presStyleLbl="revTx" presStyleIdx="0" presStyleCnt="4">
        <dgm:presLayoutVars>
          <dgm:chMax val="0"/>
          <dgm:chPref val="0"/>
        </dgm:presLayoutVars>
      </dgm:prSet>
      <dgm:spPr/>
    </dgm:pt>
    <dgm:pt modelId="{92DE347A-F440-4EA0-A19A-15ED32058C42}" type="pres">
      <dgm:prSet presAssocID="{B48388A5-17F9-4520-9B6E-350D82B6B47E}" presName="sibTrans" presStyleCnt="0"/>
      <dgm:spPr/>
    </dgm:pt>
    <dgm:pt modelId="{29446BF5-4985-418C-942C-C8627D199049}" type="pres">
      <dgm:prSet presAssocID="{D310FC57-F43C-4E2C-9B6D-9DC71D95C4F8}" presName="compNode" presStyleCnt="0"/>
      <dgm:spPr/>
    </dgm:pt>
    <dgm:pt modelId="{B8DB16D8-4226-454D-9A09-BB040DD2E36C}" type="pres">
      <dgm:prSet presAssocID="{D310FC57-F43C-4E2C-9B6D-9DC71D95C4F8}" presName="bgRect" presStyleLbl="bgShp" presStyleIdx="1" presStyleCnt="4"/>
      <dgm:spPr/>
    </dgm:pt>
    <dgm:pt modelId="{564C5C8F-9437-4747-BE47-8A248FCF0411}" type="pres">
      <dgm:prSet presAssocID="{D310FC57-F43C-4E2C-9B6D-9DC71D95C4F8}"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Meeting with solid fill"/>
        </a:ext>
      </dgm:extLst>
    </dgm:pt>
    <dgm:pt modelId="{60D04270-229F-4889-92E8-7F83735A2BF9}" type="pres">
      <dgm:prSet presAssocID="{D310FC57-F43C-4E2C-9B6D-9DC71D95C4F8}" presName="spaceRect" presStyleCnt="0"/>
      <dgm:spPr/>
    </dgm:pt>
    <dgm:pt modelId="{B1CCC648-1946-4024-BC72-12F157BF1C01}" type="pres">
      <dgm:prSet presAssocID="{D310FC57-F43C-4E2C-9B6D-9DC71D95C4F8}" presName="parTx" presStyleLbl="revTx" presStyleIdx="1" presStyleCnt="4">
        <dgm:presLayoutVars>
          <dgm:chMax val="0"/>
          <dgm:chPref val="0"/>
        </dgm:presLayoutVars>
      </dgm:prSet>
      <dgm:spPr/>
    </dgm:pt>
    <dgm:pt modelId="{BD33376C-DA5C-4321-B816-593B71FAA488}" type="pres">
      <dgm:prSet presAssocID="{BBD1174B-380A-46A3-BB91-AF4D4C8C829A}" presName="sibTrans" presStyleCnt="0"/>
      <dgm:spPr/>
    </dgm:pt>
    <dgm:pt modelId="{9A6D2DFC-8CC3-4C6A-A413-0209664C7083}" type="pres">
      <dgm:prSet presAssocID="{7CE94679-2E84-4BAD-AB15-EB3F167E6A46}" presName="compNode" presStyleCnt="0"/>
      <dgm:spPr/>
    </dgm:pt>
    <dgm:pt modelId="{2424DD3C-D8C4-4E3B-93BA-991BC7EAB6F2}" type="pres">
      <dgm:prSet presAssocID="{7CE94679-2E84-4BAD-AB15-EB3F167E6A46}" presName="bgRect" presStyleLbl="bgShp" presStyleIdx="2" presStyleCnt="4"/>
      <dgm:spPr/>
    </dgm:pt>
    <dgm:pt modelId="{ECFEB0C4-30B7-4493-ACBB-424B6B9D5B6B}" type="pres">
      <dgm:prSet presAssocID="{7CE94679-2E84-4BAD-AB15-EB3F167E6A46}"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Schoolhouse outline"/>
        </a:ext>
      </dgm:extLst>
    </dgm:pt>
    <dgm:pt modelId="{F5A4BBDE-3BD9-4EDA-83E6-3ABB08F7BAE0}" type="pres">
      <dgm:prSet presAssocID="{7CE94679-2E84-4BAD-AB15-EB3F167E6A46}" presName="spaceRect" presStyleCnt="0"/>
      <dgm:spPr/>
    </dgm:pt>
    <dgm:pt modelId="{A099E753-F35B-4A24-8E1C-78892999158A}" type="pres">
      <dgm:prSet presAssocID="{7CE94679-2E84-4BAD-AB15-EB3F167E6A46}" presName="parTx" presStyleLbl="revTx" presStyleIdx="2" presStyleCnt="4">
        <dgm:presLayoutVars>
          <dgm:chMax val="0"/>
          <dgm:chPref val="0"/>
        </dgm:presLayoutVars>
      </dgm:prSet>
      <dgm:spPr/>
    </dgm:pt>
    <dgm:pt modelId="{4F3A3109-73D7-4A54-B6B0-184DFE516A95}" type="pres">
      <dgm:prSet presAssocID="{39C7C336-98CB-4C86-AC99-9EAF4D4F2ED6}" presName="sibTrans" presStyleCnt="0"/>
      <dgm:spPr/>
    </dgm:pt>
    <dgm:pt modelId="{E4A0CB12-F2B6-4A62-82C8-3506427C9164}" type="pres">
      <dgm:prSet presAssocID="{86F5EE8F-A5A3-4CF1-9857-3D90C2A6977D}" presName="compNode" presStyleCnt="0"/>
      <dgm:spPr/>
    </dgm:pt>
    <dgm:pt modelId="{58117011-8D5D-4747-80CD-8D2788FAFE28}" type="pres">
      <dgm:prSet presAssocID="{86F5EE8F-A5A3-4CF1-9857-3D90C2A6977D}" presName="bgRect" presStyleLbl="bgShp" presStyleIdx="3" presStyleCnt="4"/>
      <dgm:spPr/>
    </dgm:pt>
    <dgm:pt modelId="{1C7B136C-B410-4D35-8B00-A9E44608E48D}" type="pres">
      <dgm:prSet presAssocID="{86F5EE8F-A5A3-4CF1-9857-3D90C2A6977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Quill outline"/>
        </a:ext>
      </dgm:extLst>
    </dgm:pt>
    <dgm:pt modelId="{A148DB27-A5C7-43D0-8D46-434DE35488A9}" type="pres">
      <dgm:prSet presAssocID="{86F5EE8F-A5A3-4CF1-9857-3D90C2A6977D}" presName="spaceRect" presStyleCnt="0"/>
      <dgm:spPr/>
    </dgm:pt>
    <dgm:pt modelId="{7EC0067D-B60D-46D0-8AC8-C58B64D277FA}" type="pres">
      <dgm:prSet presAssocID="{86F5EE8F-A5A3-4CF1-9857-3D90C2A6977D}" presName="parTx" presStyleLbl="revTx" presStyleIdx="3" presStyleCnt="4">
        <dgm:presLayoutVars>
          <dgm:chMax val="0"/>
          <dgm:chPref val="0"/>
        </dgm:presLayoutVars>
      </dgm:prSet>
      <dgm:spPr/>
    </dgm:pt>
  </dgm:ptLst>
  <dgm:cxnLst>
    <dgm:cxn modelId="{C6D3471D-2A4F-4F81-B30F-AEA358F90A79}" srcId="{31E43AC7-173D-456B-AA05-BC2BCC031A9F}" destId="{D310FC57-F43C-4E2C-9B6D-9DC71D95C4F8}" srcOrd="1" destOrd="0" parTransId="{0E5D1605-1CFC-43E5-9494-6059296171F1}" sibTransId="{BBD1174B-380A-46A3-BB91-AF4D4C8C829A}"/>
    <dgm:cxn modelId="{D1C6AA23-A736-4E26-8749-FDCC29458FB9}" srcId="{31E43AC7-173D-456B-AA05-BC2BCC031A9F}" destId="{645D015E-3619-4B81-950F-1C544B660094}" srcOrd="0" destOrd="0" parTransId="{F3311785-0947-4D54-8B94-64CA474DAD91}" sibTransId="{B48388A5-17F9-4520-9B6E-350D82B6B47E}"/>
    <dgm:cxn modelId="{340918A1-2A97-4CC7-9C47-1772ADE22805}" srcId="{31E43AC7-173D-456B-AA05-BC2BCC031A9F}" destId="{7CE94679-2E84-4BAD-AB15-EB3F167E6A46}" srcOrd="2" destOrd="0" parTransId="{700FB485-963E-4EFD-900F-1742F5BCE2D2}" sibTransId="{39C7C336-98CB-4C86-AC99-9EAF4D4F2ED6}"/>
    <dgm:cxn modelId="{55D36FA9-47B9-4FB7-9D87-815130DE10B4}" srcId="{31E43AC7-173D-456B-AA05-BC2BCC031A9F}" destId="{86F5EE8F-A5A3-4CF1-9857-3D90C2A6977D}" srcOrd="3" destOrd="0" parTransId="{63B5BC1E-BA1A-43C9-AD52-9D99D747CC5F}" sibTransId="{38F48130-8FE7-484D-8F12-95980384125D}"/>
    <dgm:cxn modelId="{D6DF42BC-0B6A-415A-BDC0-214F045B98F6}" type="presOf" srcId="{D310FC57-F43C-4E2C-9B6D-9DC71D95C4F8}" destId="{B1CCC648-1946-4024-BC72-12F157BF1C01}" srcOrd="0" destOrd="0" presId="urn:microsoft.com/office/officeart/2018/2/layout/IconVerticalSolidList"/>
    <dgm:cxn modelId="{AF67EFBF-6BFE-4EFE-8380-70A82874A60D}" type="presOf" srcId="{86F5EE8F-A5A3-4CF1-9857-3D90C2A6977D}" destId="{7EC0067D-B60D-46D0-8AC8-C58B64D277FA}" srcOrd="0" destOrd="0" presId="urn:microsoft.com/office/officeart/2018/2/layout/IconVerticalSolidList"/>
    <dgm:cxn modelId="{FC9A30D0-0277-4B30-BF3C-F7D6E0E606DC}" type="presOf" srcId="{7CE94679-2E84-4BAD-AB15-EB3F167E6A46}" destId="{A099E753-F35B-4A24-8E1C-78892999158A}" srcOrd="0" destOrd="0" presId="urn:microsoft.com/office/officeart/2018/2/layout/IconVerticalSolidList"/>
    <dgm:cxn modelId="{36A9EDEC-8BFB-4FEE-B45F-E388B957A32C}" type="presOf" srcId="{31E43AC7-173D-456B-AA05-BC2BCC031A9F}" destId="{3CD48AE7-D4F6-4B3D-B68E-EF7140BC6B9E}" srcOrd="0" destOrd="0" presId="urn:microsoft.com/office/officeart/2018/2/layout/IconVerticalSolidList"/>
    <dgm:cxn modelId="{8844BFFD-83B2-4166-B6F9-BA7BB7E98FDE}" type="presOf" srcId="{645D015E-3619-4B81-950F-1C544B660094}" destId="{3A883FDD-2842-4E49-87E1-009417EEDE74}" srcOrd="0" destOrd="0" presId="urn:microsoft.com/office/officeart/2018/2/layout/IconVerticalSolidList"/>
    <dgm:cxn modelId="{70568680-A80E-48E6-A060-5DD1652937DA}" type="presParOf" srcId="{3CD48AE7-D4F6-4B3D-B68E-EF7140BC6B9E}" destId="{0DD012EC-9339-4144-9F8C-DEE7EE016DE0}" srcOrd="0" destOrd="0" presId="urn:microsoft.com/office/officeart/2018/2/layout/IconVerticalSolidList"/>
    <dgm:cxn modelId="{F19B7555-756D-441D-B1C2-9D35E0AFA59E}" type="presParOf" srcId="{0DD012EC-9339-4144-9F8C-DEE7EE016DE0}" destId="{E14C0CFE-CB0A-44B3-89C8-D749A9E1B18C}" srcOrd="0" destOrd="0" presId="urn:microsoft.com/office/officeart/2018/2/layout/IconVerticalSolidList"/>
    <dgm:cxn modelId="{C5CF8725-7AD5-49DB-8398-E15B46EBA9B4}" type="presParOf" srcId="{0DD012EC-9339-4144-9F8C-DEE7EE016DE0}" destId="{D88E8319-B6D5-49D3-B540-92B6D9A64BEC}" srcOrd="1" destOrd="0" presId="urn:microsoft.com/office/officeart/2018/2/layout/IconVerticalSolidList"/>
    <dgm:cxn modelId="{72384A35-C31A-458E-A781-1964880AD0CD}" type="presParOf" srcId="{0DD012EC-9339-4144-9F8C-DEE7EE016DE0}" destId="{41321DAC-A7EE-4AE2-9DC7-D1923CA5030E}" srcOrd="2" destOrd="0" presId="urn:microsoft.com/office/officeart/2018/2/layout/IconVerticalSolidList"/>
    <dgm:cxn modelId="{09DB93C8-2F49-44B0-B784-394F1B988826}" type="presParOf" srcId="{0DD012EC-9339-4144-9F8C-DEE7EE016DE0}" destId="{3A883FDD-2842-4E49-87E1-009417EEDE74}" srcOrd="3" destOrd="0" presId="urn:microsoft.com/office/officeart/2018/2/layout/IconVerticalSolidList"/>
    <dgm:cxn modelId="{FCA3B1F4-152B-4150-8783-9D0F7E599D22}" type="presParOf" srcId="{3CD48AE7-D4F6-4B3D-B68E-EF7140BC6B9E}" destId="{92DE347A-F440-4EA0-A19A-15ED32058C42}" srcOrd="1" destOrd="0" presId="urn:microsoft.com/office/officeart/2018/2/layout/IconVerticalSolidList"/>
    <dgm:cxn modelId="{F2FAA34D-227A-4BA4-ACC3-8B03188BB10A}" type="presParOf" srcId="{3CD48AE7-D4F6-4B3D-B68E-EF7140BC6B9E}" destId="{29446BF5-4985-418C-942C-C8627D199049}" srcOrd="2" destOrd="0" presId="urn:microsoft.com/office/officeart/2018/2/layout/IconVerticalSolidList"/>
    <dgm:cxn modelId="{8F12B5E2-909C-43E5-BC75-1966BE120741}" type="presParOf" srcId="{29446BF5-4985-418C-942C-C8627D199049}" destId="{B8DB16D8-4226-454D-9A09-BB040DD2E36C}" srcOrd="0" destOrd="0" presId="urn:microsoft.com/office/officeart/2018/2/layout/IconVerticalSolidList"/>
    <dgm:cxn modelId="{765D216D-A876-4673-8477-E0E31112D287}" type="presParOf" srcId="{29446BF5-4985-418C-942C-C8627D199049}" destId="{564C5C8F-9437-4747-BE47-8A248FCF0411}" srcOrd="1" destOrd="0" presId="urn:microsoft.com/office/officeart/2018/2/layout/IconVerticalSolidList"/>
    <dgm:cxn modelId="{5475EF24-B6BA-4D8A-A896-79C2B8F639A8}" type="presParOf" srcId="{29446BF5-4985-418C-942C-C8627D199049}" destId="{60D04270-229F-4889-92E8-7F83735A2BF9}" srcOrd="2" destOrd="0" presId="urn:microsoft.com/office/officeart/2018/2/layout/IconVerticalSolidList"/>
    <dgm:cxn modelId="{AE8781F8-0ECE-47C1-88A2-B13528B7587F}" type="presParOf" srcId="{29446BF5-4985-418C-942C-C8627D199049}" destId="{B1CCC648-1946-4024-BC72-12F157BF1C01}" srcOrd="3" destOrd="0" presId="urn:microsoft.com/office/officeart/2018/2/layout/IconVerticalSolidList"/>
    <dgm:cxn modelId="{6F588869-7D95-4E85-A456-B969E5BDA8ED}" type="presParOf" srcId="{3CD48AE7-D4F6-4B3D-B68E-EF7140BC6B9E}" destId="{BD33376C-DA5C-4321-B816-593B71FAA488}" srcOrd="3" destOrd="0" presId="urn:microsoft.com/office/officeart/2018/2/layout/IconVerticalSolidList"/>
    <dgm:cxn modelId="{4F79792D-4E96-407D-B990-72C4F2D0CA15}" type="presParOf" srcId="{3CD48AE7-D4F6-4B3D-B68E-EF7140BC6B9E}" destId="{9A6D2DFC-8CC3-4C6A-A413-0209664C7083}" srcOrd="4" destOrd="0" presId="urn:microsoft.com/office/officeart/2018/2/layout/IconVerticalSolidList"/>
    <dgm:cxn modelId="{D5FC8A05-7D49-47B0-A9A7-445AE7B3027D}" type="presParOf" srcId="{9A6D2DFC-8CC3-4C6A-A413-0209664C7083}" destId="{2424DD3C-D8C4-4E3B-93BA-991BC7EAB6F2}" srcOrd="0" destOrd="0" presId="urn:microsoft.com/office/officeart/2018/2/layout/IconVerticalSolidList"/>
    <dgm:cxn modelId="{424C05F8-8178-458A-87B6-239410DC0B2F}" type="presParOf" srcId="{9A6D2DFC-8CC3-4C6A-A413-0209664C7083}" destId="{ECFEB0C4-30B7-4493-ACBB-424B6B9D5B6B}" srcOrd="1" destOrd="0" presId="urn:microsoft.com/office/officeart/2018/2/layout/IconVerticalSolidList"/>
    <dgm:cxn modelId="{7E9060A0-B899-4230-8D01-C031D8F9B2D6}" type="presParOf" srcId="{9A6D2DFC-8CC3-4C6A-A413-0209664C7083}" destId="{F5A4BBDE-3BD9-4EDA-83E6-3ABB08F7BAE0}" srcOrd="2" destOrd="0" presId="urn:microsoft.com/office/officeart/2018/2/layout/IconVerticalSolidList"/>
    <dgm:cxn modelId="{E88A379D-D8BD-40A5-9491-DAABF0A5C954}" type="presParOf" srcId="{9A6D2DFC-8CC3-4C6A-A413-0209664C7083}" destId="{A099E753-F35B-4A24-8E1C-78892999158A}" srcOrd="3" destOrd="0" presId="urn:microsoft.com/office/officeart/2018/2/layout/IconVerticalSolidList"/>
    <dgm:cxn modelId="{CE0E94EB-3E22-43C6-86CA-6D8A4FA5AFDF}" type="presParOf" srcId="{3CD48AE7-D4F6-4B3D-B68E-EF7140BC6B9E}" destId="{4F3A3109-73D7-4A54-B6B0-184DFE516A95}" srcOrd="5" destOrd="0" presId="urn:microsoft.com/office/officeart/2018/2/layout/IconVerticalSolidList"/>
    <dgm:cxn modelId="{C0AEA2AA-5B5F-417A-9292-7218A372FE04}" type="presParOf" srcId="{3CD48AE7-D4F6-4B3D-B68E-EF7140BC6B9E}" destId="{E4A0CB12-F2B6-4A62-82C8-3506427C9164}" srcOrd="6" destOrd="0" presId="urn:microsoft.com/office/officeart/2018/2/layout/IconVerticalSolidList"/>
    <dgm:cxn modelId="{1019F0F0-1272-4EF2-A25E-9569C95B866B}" type="presParOf" srcId="{E4A0CB12-F2B6-4A62-82C8-3506427C9164}" destId="{58117011-8D5D-4747-80CD-8D2788FAFE28}" srcOrd="0" destOrd="0" presId="urn:microsoft.com/office/officeart/2018/2/layout/IconVerticalSolidList"/>
    <dgm:cxn modelId="{A0DC90DF-0683-43FD-AEE7-B828CCDBA25C}" type="presParOf" srcId="{E4A0CB12-F2B6-4A62-82C8-3506427C9164}" destId="{1C7B136C-B410-4D35-8B00-A9E44608E48D}" srcOrd="1" destOrd="0" presId="urn:microsoft.com/office/officeart/2018/2/layout/IconVerticalSolidList"/>
    <dgm:cxn modelId="{27E8384C-B892-4043-8198-08AA6369FB58}" type="presParOf" srcId="{E4A0CB12-F2B6-4A62-82C8-3506427C9164}" destId="{A148DB27-A5C7-43D0-8D46-434DE35488A9}" srcOrd="2" destOrd="0" presId="urn:microsoft.com/office/officeart/2018/2/layout/IconVerticalSolidList"/>
    <dgm:cxn modelId="{A5688826-91CE-4EF0-A544-2ED0AF773360}" type="presParOf" srcId="{E4A0CB12-F2B6-4A62-82C8-3506427C9164}" destId="{7EC0067D-B60D-46D0-8AC8-C58B64D277FA}"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71B674-69EE-409B-914D-7D2EAE1473A3}">
      <dsp:nvSpPr>
        <dsp:cNvPr id="0" name=""/>
        <dsp:cNvSpPr/>
      </dsp:nvSpPr>
      <dsp:spPr>
        <a:xfrm>
          <a:off x="0" y="785"/>
          <a:ext cx="7066273" cy="0"/>
        </a:xfrm>
        <a:prstGeom prst="line">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3876F2-4573-48DE-B38C-14FA55582084}">
      <dsp:nvSpPr>
        <dsp:cNvPr id="0" name=""/>
        <dsp:cNvSpPr/>
      </dsp:nvSpPr>
      <dsp:spPr>
        <a:xfrm>
          <a:off x="0" y="785"/>
          <a:ext cx="7066273" cy="919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a:latin typeface="+mn-lt"/>
            </a:rPr>
            <a:t>About FFIO</a:t>
          </a:r>
        </a:p>
      </dsp:txBody>
      <dsp:txXfrm>
        <a:off x="0" y="785"/>
        <a:ext cx="7066273" cy="919516"/>
      </dsp:txXfrm>
    </dsp:sp>
    <dsp:sp modelId="{5ADED652-3E0A-4D4C-BCAD-59477DBCEA60}">
      <dsp:nvSpPr>
        <dsp:cNvPr id="0" name=""/>
        <dsp:cNvSpPr/>
      </dsp:nvSpPr>
      <dsp:spPr>
        <a:xfrm>
          <a:off x="0" y="920302"/>
          <a:ext cx="7066273" cy="0"/>
        </a:xfrm>
        <a:prstGeom prst="line">
          <a:avLst/>
        </a:prstGeom>
        <a:solidFill>
          <a:schemeClr val="accent2">
            <a:hueOff val="-220562"/>
            <a:satOff val="249"/>
            <a:lumOff val="588"/>
            <a:alphaOff val="0"/>
          </a:schemeClr>
        </a:solidFill>
        <a:ln w="15875" cap="flat" cmpd="sng" algn="ctr">
          <a:solidFill>
            <a:schemeClr val="accent2">
              <a:hueOff val="-220562"/>
              <a:satOff val="249"/>
              <a:lumOff val="588"/>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9DE12F-2110-D447-95A9-FB79001D3523}">
      <dsp:nvSpPr>
        <dsp:cNvPr id="0" name=""/>
        <dsp:cNvSpPr/>
      </dsp:nvSpPr>
      <dsp:spPr>
        <a:xfrm>
          <a:off x="0" y="920302"/>
          <a:ext cx="7066273" cy="919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spc="200">
              <a:latin typeface="+mn-lt"/>
            </a:rPr>
            <a:t>Local Government Engagement</a:t>
          </a:r>
          <a:endParaRPr lang="en-GB" sz="2000" kern="1200">
            <a:latin typeface="+mn-lt"/>
          </a:endParaRPr>
        </a:p>
      </dsp:txBody>
      <dsp:txXfrm>
        <a:off x="0" y="920302"/>
        <a:ext cx="7066273" cy="919516"/>
      </dsp:txXfrm>
    </dsp:sp>
    <dsp:sp modelId="{5EA078E5-D83B-4C7B-9388-D30175397E4B}">
      <dsp:nvSpPr>
        <dsp:cNvPr id="0" name=""/>
        <dsp:cNvSpPr/>
      </dsp:nvSpPr>
      <dsp:spPr>
        <a:xfrm>
          <a:off x="0" y="1839819"/>
          <a:ext cx="7066273" cy="0"/>
        </a:xfrm>
        <a:prstGeom prst="line">
          <a:avLst/>
        </a:prstGeom>
        <a:solidFill>
          <a:schemeClr val="accent2">
            <a:hueOff val="-441124"/>
            <a:satOff val="497"/>
            <a:lumOff val="1177"/>
            <a:alphaOff val="0"/>
          </a:schemeClr>
        </a:solidFill>
        <a:ln w="15875" cap="flat" cmpd="sng" algn="ctr">
          <a:solidFill>
            <a:schemeClr val="accent2">
              <a:hueOff val="-441124"/>
              <a:satOff val="497"/>
              <a:lumOff val="117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EFC1A20-8B95-442F-BAFF-F90F8F847D83}">
      <dsp:nvSpPr>
        <dsp:cNvPr id="0" name=""/>
        <dsp:cNvSpPr/>
      </dsp:nvSpPr>
      <dsp:spPr>
        <a:xfrm>
          <a:off x="0" y="1839819"/>
          <a:ext cx="7066273" cy="919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100000"/>
            </a:lnSpc>
            <a:spcBef>
              <a:spcPct val="0"/>
            </a:spcBef>
            <a:spcAft>
              <a:spcPct val="35000"/>
            </a:spcAft>
            <a:buNone/>
          </a:pPr>
          <a:r>
            <a:rPr lang="en-US" sz="2000" kern="1200">
              <a:latin typeface="+mn-lt"/>
            </a:rPr>
            <a:t>Federal Matching Funds Legislation</a:t>
          </a:r>
        </a:p>
      </dsp:txBody>
      <dsp:txXfrm>
        <a:off x="0" y="1839819"/>
        <a:ext cx="7066273" cy="919516"/>
      </dsp:txXfrm>
    </dsp:sp>
    <dsp:sp modelId="{DA940355-1F91-41FC-AB0C-B939F04CF7DC}">
      <dsp:nvSpPr>
        <dsp:cNvPr id="0" name=""/>
        <dsp:cNvSpPr/>
      </dsp:nvSpPr>
      <dsp:spPr>
        <a:xfrm>
          <a:off x="0" y="2759336"/>
          <a:ext cx="7066273" cy="0"/>
        </a:xfrm>
        <a:prstGeom prst="line">
          <a:avLst/>
        </a:prstGeom>
        <a:solidFill>
          <a:schemeClr val="accent2">
            <a:hueOff val="-661686"/>
            <a:satOff val="746"/>
            <a:lumOff val="1765"/>
            <a:alphaOff val="0"/>
          </a:schemeClr>
        </a:solidFill>
        <a:ln w="15875" cap="flat" cmpd="sng" algn="ctr">
          <a:solidFill>
            <a:schemeClr val="accent2">
              <a:hueOff val="-661686"/>
              <a:satOff val="746"/>
              <a:lumOff val="1765"/>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BB8A6B-4C45-48D7-ACD7-EF00673E2F1F}">
      <dsp:nvSpPr>
        <dsp:cNvPr id="0" name=""/>
        <dsp:cNvSpPr/>
      </dsp:nvSpPr>
      <dsp:spPr>
        <a:xfrm>
          <a:off x="0" y="2759336"/>
          <a:ext cx="7066273" cy="919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a:solidFill>
                <a:prstClr val="black">
                  <a:hueOff val="0"/>
                  <a:satOff val="0"/>
                  <a:lumOff val="0"/>
                  <a:alphaOff val="0"/>
                </a:prstClr>
              </a:solidFill>
              <a:latin typeface="+mn-lt"/>
              <a:ea typeface="+mn-ea"/>
              <a:cs typeface="+mn-cs"/>
            </a:rPr>
            <a:t>FFIO’s Grant Programs</a:t>
          </a:r>
          <a:endParaRPr lang="en-US" sz="2000" kern="1200">
            <a:latin typeface="+mn-lt"/>
          </a:endParaRPr>
        </a:p>
      </dsp:txBody>
      <dsp:txXfrm>
        <a:off x="0" y="2759336"/>
        <a:ext cx="7066273" cy="919516"/>
      </dsp:txXfrm>
    </dsp:sp>
    <dsp:sp modelId="{E53B4472-975A-473E-8C08-61C613FF4CC1}">
      <dsp:nvSpPr>
        <dsp:cNvPr id="0" name=""/>
        <dsp:cNvSpPr/>
      </dsp:nvSpPr>
      <dsp:spPr>
        <a:xfrm>
          <a:off x="0" y="3678852"/>
          <a:ext cx="7066273" cy="0"/>
        </a:xfrm>
        <a:prstGeom prst="line">
          <a:avLst/>
        </a:prstGeom>
        <a:solidFill>
          <a:schemeClr val="accent2">
            <a:hueOff val="-882249"/>
            <a:satOff val="995"/>
            <a:lumOff val="2353"/>
            <a:alphaOff val="0"/>
          </a:schemeClr>
        </a:solidFill>
        <a:ln w="15875" cap="flat" cmpd="sng" algn="ctr">
          <a:solidFill>
            <a:schemeClr val="accent2">
              <a:hueOff val="-882249"/>
              <a:satOff val="995"/>
              <a:lumOff val="2353"/>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57D77D7-AA48-4935-B34A-87D7AC5E868A}">
      <dsp:nvSpPr>
        <dsp:cNvPr id="0" name=""/>
        <dsp:cNvSpPr/>
      </dsp:nvSpPr>
      <dsp:spPr>
        <a:xfrm>
          <a:off x="0" y="3678852"/>
          <a:ext cx="7066273" cy="919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a:solidFill>
                <a:prstClr val="black">
                  <a:hueOff val="0"/>
                  <a:satOff val="0"/>
                  <a:lumOff val="0"/>
                  <a:alphaOff val="0"/>
                </a:prstClr>
              </a:solidFill>
              <a:latin typeface="+mn-lt"/>
              <a:ea typeface="+mn-ea"/>
              <a:cs typeface="+mn-cs"/>
            </a:rPr>
            <a:t>New Federal Grant Opportunities</a:t>
          </a:r>
          <a:endParaRPr lang="en-US" sz="2000" kern="1200">
            <a:latin typeface="+mn-lt"/>
          </a:endParaRPr>
        </a:p>
      </dsp:txBody>
      <dsp:txXfrm>
        <a:off x="0" y="3678852"/>
        <a:ext cx="7066273" cy="919516"/>
      </dsp:txXfrm>
    </dsp:sp>
    <dsp:sp modelId="{853B043F-BFC6-45E2-8D2B-34A5D205D485}">
      <dsp:nvSpPr>
        <dsp:cNvPr id="0" name=""/>
        <dsp:cNvSpPr/>
      </dsp:nvSpPr>
      <dsp:spPr>
        <a:xfrm>
          <a:off x="0" y="4598369"/>
          <a:ext cx="7066273" cy="0"/>
        </a:xfrm>
        <a:prstGeom prst="line">
          <a:avLst/>
        </a:prstGeom>
        <a:solidFill>
          <a:schemeClr val="accent2">
            <a:hueOff val="-1102811"/>
            <a:satOff val="1243"/>
            <a:lumOff val="2942"/>
            <a:alphaOff val="0"/>
          </a:schemeClr>
        </a:solidFill>
        <a:ln w="15875" cap="flat" cmpd="sng" algn="ctr">
          <a:solidFill>
            <a:schemeClr val="accent2">
              <a:hueOff val="-1102811"/>
              <a:satOff val="1243"/>
              <a:lumOff val="294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2D5C832-242D-4638-AE0D-A80548958863}">
      <dsp:nvSpPr>
        <dsp:cNvPr id="0" name=""/>
        <dsp:cNvSpPr/>
      </dsp:nvSpPr>
      <dsp:spPr>
        <a:xfrm>
          <a:off x="0" y="4598369"/>
          <a:ext cx="7066273" cy="919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a:latin typeface="+mn-lt"/>
            </a:rPr>
            <a:t>Grantwell</a:t>
          </a:r>
        </a:p>
      </dsp:txBody>
      <dsp:txXfrm>
        <a:off x="0" y="4598369"/>
        <a:ext cx="7066273" cy="919516"/>
      </dsp:txXfrm>
    </dsp:sp>
    <dsp:sp modelId="{07309E4B-D895-4811-8C7D-BBE793C6B3C3}">
      <dsp:nvSpPr>
        <dsp:cNvPr id="0" name=""/>
        <dsp:cNvSpPr/>
      </dsp:nvSpPr>
      <dsp:spPr>
        <a:xfrm>
          <a:off x="0" y="5517886"/>
          <a:ext cx="7066273" cy="0"/>
        </a:xfrm>
        <a:prstGeom prst="line">
          <a:avLst/>
        </a:prstGeom>
        <a:solidFill>
          <a:schemeClr val="accent2">
            <a:hueOff val="-1323373"/>
            <a:satOff val="1492"/>
            <a:lumOff val="3530"/>
            <a:alphaOff val="0"/>
          </a:schemeClr>
        </a:solidFill>
        <a:ln w="15875" cap="flat" cmpd="sng" algn="ctr">
          <a:solidFill>
            <a:schemeClr val="accent2">
              <a:hueOff val="-1323373"/>
              <a:satOff val="1492"/>
              <a:lumOff val="353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1F24777-2AA6-456F-B41E-CE00E6F86F5E}">
      <dsp:nvSpPr>
        <dsp:cNvPr id="0" name=""/>
        <dsp:cNvSpPr/>
      </dsp:nvSpPr>
      <dsp:spPr>
        <a:xfrm>
          <a:off x="0" y="5517886"/>
          <a:ext cx="7066273" cy="919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a:latin typeface="+mn-lt"/>
            </a:rPr>
            <a:t>Q&amp;A / Discussion</a:t>
          </a:r>
        </a:p>
      </dsp:txBody>
      <dsp:txXfrm>
        <a:off x="0" y="5517886"/>
        <a:ext cx="7066273" cy="9195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4C0CFE-CB0A-44B3-89C8-D749A9E1B18C}">
      <dsp:nvSpPr>
        <dsp:cNvPr id="0" name=""/>
        <dsp:cNvSpPr/>
      </dsp:nvSpPr>
      <dsp:spPr>
        <a:xfrm>
          <a:off x="0" y="0"/>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88E8319-B6D5-49D3-B540-92B6D9A64BEC}">
      <dsp:nvSpPr>
        <dsp:cNvPr id="0" name=""/>
        <dsp:cNvSpPr/>
      </dsp:nvSpPr>
      <dsp:spPr>
        <a:xfrm>
          <a:off x="347869" y="261014"/>
          <a:ext cx="632489" cy="632489"/>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A883FDD-2842-4E49-87E1-009417EEDE74}">
      <dsp:nvSpPr>
        <dsp:cNvPr id="0" name=""/>
        <dsp:cNvSpPr/>
      </dsp:nvSpPr>
      <dsp:spPr>
        <a:xfrm>
          <a:off x="1328227" y="2268"/>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i="0" kern="1200"/>
            <a:t>Identifying and tracking key federal funding opportunities </a:t>
          </a:r>
          <a:r>
            <a:rPr lang="en-US" sz="1600" b="1" kern="1200"/>
            <a:t>and Massachusetts applications through the State Clearinghouse</a:t>
          </a:r>
          <a:endParaRPr lang="en-US" sz="1600" kern="1200"/>
        </a:p>
      </dsp:txBody>
      <dsp:txXfrm>
        <a:off x="1328227" y="2268"/>
        <a:ext cx="5914790" cy="1149980"/>
      </dsp:txXfrm>
    </dsp:sp>
    <dsp:sp modelId="{B8DB16D8-4226-454D-9A09-BB040DD2E36C}">
      <dsp:nvSpPr>
        <dsp:cNvPr id="0" name=""/>
        <dsp:cNvSpPr/>
      </dsp:nvSpPr>
      <dsp:spPr>
        <a:xfrm>
          <a:off x="0" y="1439744"/>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64C5C8F-9437-4747-BE47-8A248FCF0411}">
      <dsp:nvSpPr>
        <dsp:cNvPr id="0" name=""/>
        <dsp:cNvSpPr/>
      </dsp:nvSpPr>
      <dsp:spPr>
        <a:xfrm>
          <a:off x="347869" y="1698490"/>
          <a:ext cx="632489" cy="632489"/>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1CCC648-1946-4024-BC72-12F157BF1C01}">
      <dsp:nvSpPr>
        <dsp:cNvPr id="0" name=""/>
        <dsp:cNvSpPr/>
      </dsp:nvSpPr>
      <dsp:spPr>
        <a:xfrm>
          <a:off x="1328227" y="1439744"/>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i="0" kern="1200"/>
            <a:t>Leading bi-weekly meetings of the interagency Advisory Council on Federal Funds and Infrastructure</a:t>
          </a:r>
          <a:endParaRPr lang="en-US" sz="1600" b="1" kern="1200"/>
        </a:p>
      </dsp:txBody>
      <dsp:txXfrm>
        <a:off x="1328227" y="1439744"/>
        <a:ext cx="5914790" cy="1149980"/>
      </dsp:txXfrm>
    </dsp:sp>
    <dsp:sp modelId="{2424DD3C-D8C4-4E3B-93BA-991BC7EAB6F2}">
      <dsp:nvSpPr>
        <dsp:cNvPr id="0" name=""/>
        <dsp:cNvSpPr/>
      </dsp:nvSpPr>
      <dsp:spPr>
        <a:xfrm>
          <a:off x="0" y="2877220"/>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FEB0C4-30B7-4493-ACBB-424B6B9D5B6B}">
      <dsp:nvSpPr>
        <dsp:cNvPr id="0" name=""/>
        <dsp:cNvSpPr/>
      </dsp:nvSpPr>
      <dsp:spPr>
        <a:xfrm>
          <a:off x="347869" y="3135965"/>
          <a:ext cx="632489" cy="632489"/>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099E753-F35B-4A24-8E1C-78892999158A}">
      <dsp:nvSpPr>
        <dsp:cNvPr id="0" name=""/>
        <dsp:cNvSpPr/>
      </dsp:nvSpPr>
      <dsp:spPr>
        <a:xfrm>
          <a:off x="1328227" y="2877220"/>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kern="1200"/>
            <a:t>Leading the Massachusetts Federal Funds Partnership and other meetings to support local governments in their applications for federal funding</a:t>
          </a:r>
        </a:p>
      </dsp:txBody>
      <dsp:txXfrm>
        <a:off x="1328227" y="2877220"/>
        <a:ext cx="5914790" cy="1149980"/>
      </dsp:txXfrm>
    </dsp:sp>
    <dsp:sp modelId="{58117011-8D5D-4747-80CD-8D2788FAFE28}">
      <dsp:nvSpPr>
        <dsp:cNvPr id="0" name=""/>
        <dsp:cNvSpPr/>
      </dsp:nvSpPr>
      <dsp:spPr>
        <a:xfrm>
          <a:off x="0" y="4314695"/>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7B136C-B410-4D35-8B00-A9E44608E48D}">
      <dsp:nvSpPr>
        <dsp:cNvPr id="0" name=""/>
        <dsp:cNvSpPr/>
      </dsp:nvSpPr>
      <dsp:spPr>
        <a:xfrm>
          <a:off x="347869" y="4573441"/>
          <a:ext cx="632489" cy="632489"/>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C0067D-B60D-46D0-8AC8-C58B64D277FA}">
      <dsp:nvSpPr>
        <dsp:cNvPr id="0" name=""/>
        <dsp:cNvSpPr/>
      </dsp:nvSpPr>
      <dsp:spPr>
        <a:xfrm>
          <a:off x="1328227" y="4314695"/>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kern="1200"/>
            <a:t>Implementing the Federal Match legislation (</a:t>
          </a:r>
          <a:r>
            <a:rPr lang="en-US" sz="1600" b="1" i="1" kern="1200"/>
            <a:t>Chapter 214 of the Acts of 2024)</a:t>
          </a:r>
          <a:endParaRPr lang="en-US" sz="1600" b="1" kern="1200"/>
        </a:p>
      </dsp:txBody>
      <dsp:txXfrm>
        <a:off x="1328227" y="4314695"/>
        <a:ext cx="5914790" cy="1149980"/>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AF6402-C2DA-43A9-9571-A3E6F294750A}" type="datetimeFigureOut">
              <a:rPr lang="en-US" smtClean="0"/>
              <a:t>10/2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FB4C77-F4E8-48A6-B51F-89558BE99AF9}" type="slidenum">
              <a:rPr lang="en-US" smtClean="0"/>
              <a:t>‹#›</a:t>
            </a:fld>
            <a:endParaRPr lang="en-US"/>
          </a:p>
        </p:txBody>
      </p:sp>
    </p:spTree>
    <p:extLst>
      <p:ext uri="{BB962C8B-B14F-4D97-AF65-F5344CB8AC3E}">
        <p14:creationId xmlns:p14="http://schemas.microsoft.com/office/powerpoint/2010/main" val="2551521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8056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1163804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10447418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13104704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16808431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B2431-D351-4C6E-A3CF-9DFAC0E3E050}" type="slidenum">
              <a:rPr kumimoji="0" lang="cs-CZ"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cs-C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505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3155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73522"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352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5698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45367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1F0D1-6E48-C099-8A57-8974EBF086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FE0B38-04DF-B357-FA89-F05B06F891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50623C-D3A6-C9A0-915F-5A063931841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A15D9FA-6327-4C60-B84F-4B78631E4D0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52691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24D5E0-57FE-23E8-3508-17C39D7F31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430042-6C90-F7CA-4714-C68DD276E0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C715C8-4FDF-5E82-92B5-08E3C9147EB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2834279-479A-CA19-9D52-FB630B1131F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5748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F6765D-0433-914E-4573-0524E0F040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6B5058-2942-5FEF-69B6-F967338323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3C605D-37B7-D25F-4C56-70ED548FF6C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E2C261F-F5F8-8BB6-BEE5-897876596CB3}"/>
              </a:ext>
            </a:extLst>
          </p:cNvPr>
          <p:cNvSpPr>
            <a:spLocks noGrp="1"/>
          </p:cNvSpPr>
          <p:nvPr>
            <p:ph type="sldNum" sz="quarter" idx="5"/>
          </p:nvPr>
        </p:nvSpPr>
        <p:spPr/>
        <p:txBody>
          <a:bodyPr/>
          <a:lstStyle/>
          <a:p>
            <a:pPr marL="0" marR="0" lvl="0" indent="0" algn="r" defTabSz="473522"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352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46006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A56C78-1AD0-0416-3C26-4CBDC5577F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501EAA-FDD4-8937-D6F7-F746950047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D10B2D-F1FE-8937-A8EB-29431CFB23F3}"/>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448A524B-973C-8ADA-337A-DAC6567B655A}"/>
              </a:ext>
            </a:extLst>
          </p:cNvPr>
          <p:cNvSpPr>
            <a:spLocks noGrp="1"/>
          </p:cNvSpPr>
          <p:nvPr>
            <p:ph type="sldNum" sz="quarter" idx="5"/>
          </p:nvPr>
        </p:nvSpPr>
        <p:spPr/>
        <p:txBody>
          <a:bodyPr/>
          <a:lstStyle/>
          <a:p>
            <a:pPr marL="0" marR="0" lvl="0" indent="0" algn="r" defTabSz="473522"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352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29390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DA9AC-A038-B40E-91D7-A29EEA323E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CB25C2-92C2-CA80-8B74-2C77322C87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868D5D-3076-826D-4175-CBC92DE8ADA4}"/>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AB6E914F-6E12-AFA8-445F-ACC090EDB560}"/>
              </a:ext>
            </a:extLst>
          </p:cNvPr>
          <p:cNvSpPr>
            <a:spLocks noGrp="1"/>
          </p:cNvSpPr>
          <p:nvPr>
            <p:ph type="sldNum" sz="quarter" idx="5"/>
          </p:nvPr>
        </p:nvSpPr>
        <p:spPr/>
        <p:txBody>
          <a:bodyPr/>
          <a:lstStyle/>
          <a:p>
            <a:pPr marL="0" marR="0" lvl="0" indent="0" algn="r" defTabSz="473522"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352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7074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A0C2C59-2378-4B0C-9397-BF9D0BCEF8DF}"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20</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946671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a:t>Click to edit Master title style</a:t>
            </a:r>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p>
        </p:txBody>
      </p:sp>
      <p:sp>
        <p:nvSpPr>
          <p:cNvPr id="4" name="Date Placeholder 3"/>
          <p:cNvSpPr>
            <a:spLocks noGrp="1"/>
          </p:cNvSpPr>
          <p:nvPr>
            <p:ph type="dt" sz="half" idx="10"/>
          </p:nvPr>
        </p:nvSpPr>
        <p:spPr/>
        <p:txBody>
          <a:bodyPr/>
          <a:lstStyle>
            <a:lvl1pPr algn="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68F6BC1-8266-4D12-96DD-909D5278AA3D}" type="datetimeFigureOut">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0/24/2025</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5" name="Footer Placeholder 4"/>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21358C-0DEE-4D35-BD14-2A70E6046756}" type="slidenum">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40116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901700" y="474979"/>
            <a:ext cx="10199370" cy="707886"/>
          </a:xfrm>
        </p:spPr>
        <p:txBody>
          <a:bodyPr lIns="0" tIns="0" rIns="0" bIns="0"/>
          <a:lstStyle>
            <a:lvl1pPr>
              <a:defRPr sz="3000" b="1" i="1">
                <a:solidFill>
                  <a:srgbClr val="005295"/>
                </a:solidFill>
                <a:latin typeface="ITCErasStd-Demi"/>
                <a:cs typeface="ITCErasStd-Demi"/>
              </a:defRPr>
            </a:lvl1pPr>
          </a:lstStyle>
          <a:p>
            <a:r>
              <a:rPr lang="en-US" sz="2800" i="0" spc="-10">
                <a:latin typeface="Poppins" pitchFamily="2" charset="77"/>
                <a:cs typeface="Poppins" pitchFamily="2" charset="77"/>
              </a:rPr>
              <a:t>Title</a:t>
            </a:r>
            <a:r>
              <a:rPr lang="en-US" sz="2800" i="0" spc="-180">
                <a:latin typeface="Poppins" pitchFamily="2" charset="77"/>
                <a:cs typeface="Poppins" pitchFamily="2" charset="77"/>
              </a:rPr>
              <a:t> </a:t>
            </a:r>
            <a:r>
              <a:rPr lang="en-US" sz="2800" i="0">
                <a:latin typeface="Poppins" pitchFamily="2" charset="77"/>
                <a:cs typeface="Poppins" pitchFamily="2" charset="77"/>
              </a:rPr>
              <a:t>Goes</a:t>
            </a:r>
            <a:r>
              <a:rPr lang="en-US" sz="2800" i="0" spc="-175">
                <a:latin typeface="Poppins" pitchFamily="2" charset="77"/>
                <a:cs typeface="Poppins" pitchFamily="2" charset="77"/>
              </a:rPr>
              <a:t> </a:t>
            </a:r>
            <a:r>
              <a:rPr lang="en-US" sz="2800" i="0" spc="-40">
                <a:latin typeface="Poppins" pitchFamily="2" charset="77"/>
                <a:cs typeface="Poppins" pitchFamily="2" charset="77"/>
              </a:rPr>
              <a:t>Here</a:t>
            </a:r>
            <a:br>
              <a:rPr lang="en-US" sz="2800" i="0" spc="-40">
                <a:latin typeface="Poppins" pitchFamily="2" charset="77"/>
                <a:cs typeface="Poppins" pitchFamily="2" charset="77"/>
              </a:rPr>
            </a:br>
            <a:r>
              <a:rPr lang="en-US" sz="1800" b="0" i="0" spc="-10">
                <a:latin typeface="Poppins" pitchFamily="2" charset="77"/>
                <a:cs typeface="Poppins" pitchFamily="2" charset="77"/>
              </a:rPr>
              <a:t>Subtitle</a:t>
            </a:r>
            <a:endParaRPr/>
          </a:p>
        </p:txBody>
      </p:sp>
      <p:sp>
        <p:nvSpPr>
          <p:cNvPr id="5" name="Holder 5"/>
          <p:cNvSpPr>
            <a:spLocks noGrp="1"/>
          </p:cNvSpPr>
          <p:nvPr>
            <p:ph type="sldNum" sz="quarter" idx="7"/>
          </p:nvPr>
        </p:nvSpPr>
        <p:spPr>
          <a:xfrm>
            <a:off x="8740140" y="903141"/>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a:p>
        </p:txBody>
      </p:sp>
      <p:sp>
        <p:nvSpPr>
          <p:cNvPr id="6" name="bg object 17">
            <a:extLst>
              <a:ext uri="{FF2B5EF4-FFF2-40B4-BE49-F238E27FC236}">
                <a16:creationId xmlns:a16="http://schemas.microsoft.com/office/drawing/2014/main" id="{E9FD20BA-76F9-B031-0B79-3F63B4ACFE75}"/>
              </a:ext>
              <a:ext uri="{C183D7F6-B498-43B3-948B-1728B52AA6E4}">
                <adec:decorative xmlns:adec="http://schemas.microsoft.com/office/drawing/2017/decorative" val="1"/>
              </a:ext>
            </a:extLst>
          </p:cNvPr>
          <p:cNvSpPr/>
          <p:nvPr/>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7" name="bg object 18">
            <a:extLst>
              <a:ext uri="{FF2B5EF4-FFF2-40B4-BE49-F238E27FC236}">
                <a16:creationId xmlns:a16="http://schemas.microsoft.com/office/drawing/2014/main" id="{59C7F3AD-CABD-3374-7597-CE359F051C10}"/>
              </a:ext>
              <a:ext uri="{C183D7F6-B498-43B3-948B-1728B52AA6E4}">
                <adec:decorative xmlns:adec="http://schemas.microsoft.com/office/drawing/2017/decorative" val="1"/>
              </a:ext>
            </a:extLst>
          </p:cNvPr>
          <p:cNvSpPr/>
          <p:nvPr/>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9" name="object 7" descr="MassDOT Logo">
            <a:extLst>
              <a:ext uri="{FF2B5EF4-FFF2-40B4-BE49-F238E27FC236}">
                <a16:creationId xmlns:a16="http://schemas.microsoft.com/office/drawing/2014/main" id="{E83F4B9E-CC08-E107-C5C1-CC2F1C2A9EBF}"/>
              </a:ext>
              <a:ext uri="{C183D7F6-B498-43B3-948B-1728B52AA6E4}">
                <adec:decorative xmlns:adec="http://schemas.microsoft.com/office/drawing/2017/decorative" val="0"/>
              </a:ext>
            </a:extLst>
          </p:cNvPr>
          <p:cNvPicPr/>
          <p:nvPr/>
        </p:nvPicPr>
        <p:blipFill>
          <a:blip r:embed="rId2" cstate="print"/>
          <a:stretch>
            <a:fillRect/>
          </a:stretch>
        </p:blipFill>
        <p:spPr>
          <a:xfrm>
            <a:off x="9345193" y="6083300"/>
            <a:ext cx="2199100" cy="444494"/>
          </a:xfrm>
          <a:prstGeom prst="rect">
            <a:avLst/>
          </a:prstGeom>
        </p:spPr>
      </p:pic>
      <p:sp>
        <p:nvSpPr>
          <p:cNvPr id="3" name="bg object 17">
            <a:extLst>
              <a:ext uri="{FF2B5EF4-FFF2-40B4-BE49-F238E27FC236}">
                <a16:creationId xmlns:a16="http://schemas.microsoft.com/office/drawing/2014/main" id="{C67C198E-4ABA-27D9-DA23-7DB3AF5FF06B}"/>
              </a:ext>
              <a:ext uri="{C183D7F6-B498-43B3-948B-1728B52AA6E4}">
                <adec:decorative xmlns:adec="http://schemas.microsoft.com/office/drawing/2017/decorative" val="1"/>
              </a:ext>
            </a:extLst>
          </p:cNvPr>
          <p:cNvSpPr/>
          <p:nvPr userDrawn="1"/>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4" name="bg object 18">
            <a:extLst>
              <a:ext uri="{FF2B5EF4-FFF2-40B4-BE49-F238E27FC236}">
                <a16:creationId xmlns:a16="http://schemas.microsoft.com/office/drawing/2014/main" id="{E436AAC6-AF63-E7BB-67AD-452A82281523}"/>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8" name="object 7" descr="MassDOT Logo">
            <a:extLst>
              <a:ext uri="{FF2B5EF4-FFF2-40B4-BE49-F238E27FC236}">
                <a16:creationId xmlns:a16="http://schemas.microsoft.com/office/drawing/2014/main" id="{AD9E2D9A-8E05-A8B3-F335-714E33A2A28F}"/>
              </a:ext>
              <a:ext uri="{C183D7F6-B498-43B3-948B-1728B52AA6E4}">
                <adec:decorative xmlns:adec="http://schemas.microsoft.com/office/drawing/2017/decorative" val="0"/>
              </a:ext>
            </a:extLst>
          </p:cNvPr>
          <p:cNvPicPr/>
          <p:nvPr userDrawn="1"/>
        </p:nvPicPr>
        <p:blipFill>
          <a:blip r:embed="rId2" cstate="print"/>
          <a:stretch>
            <a:fillRect/>
          </a:stretch>
        </p:blipFill>
        <p:spPr>
          <a:xfrm>
            <a:off x="9345193" y="6083300"/>
            <a:ext cx="2199100" cy="444494"/>
          </a:xfrm>
          <a:prstGeom prst="rect">
            <a:avLst/>
          </a:prstGeom>
        </p:spPr>
      </p:pic>
    </p:spTree>
    <p:extLst>
      <p:ext uri="{BB962C8B-B14F-4D97-AF65-F5344CB8AC3E}">
        <p14:creationId xmlns:p14="http://schemas.microsoft.com/office/powerpoint/2010/main" val="18257871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Holder 5">
            <a:extLst>
              <a:ext uri="{FF2B5EF4-FFF2-40B4-BE49-F238E27FC236}">
                <a16:creationId xmlns:a16="http://schemas.microsoft.com/office/drawing/2014/main" id="{6880C750-AB3C-9851-A6E3-E0E2F0194127}"/>
              </a:ext>
            </a:extLst>
          </p:cNvPr>
          <p:cNvSpPr txBox="1">
            <a:spLocks/>
          </p:cNvSpPr>
          <p:nvPr/>
        </p:nvSpPr>
        <p:spPr>
          <a:xfrm>
            <a:off x="8740140" y="903141"/>
            <a:ext cx="2804160" cy="342900"/>
          </a:xfrm>
          <a:prstGeom prst="rect">
            <a:avLst/>
          </a:prstGeom>
        </p:spPr>
        <p:txBody>
          <a:bodyPr lIns="0" tIns="0" rIns="0" bIns="0"/>
          <a:lstStyle>
            <a:defPPr>
              <a:defRPr kern="0"/>
            </a:defPPr>
            <a:lvl1pPr algn="r">
              <a:defRPr>
                <a:solidFill>
                  <a:schemeClr val="tx1">
                    <a:tint val="75000"/>
                  </a:schemeClr>
                </a:solidFill>
              </a:defRPr>
            </a:lvl1pPr>
          </a:lstStyle>
          <a:p>
            <a:fld id="{B6F15528-21DE-4FAA-801E-634DDDAF4B2B}" type="slidenum">
              <a:rPr lang="en-US" smtClean="0"/>
              <a:pPr/>
              <a:t>‹#›</a:t>
            </a:fld>
            <a:endParaRPr lang="en-US"/>
          </a:p>
        </p:txBody>
      </p:sp>
      <p:sp>
        <p:nvSpPr>
          <p:cNvPr id="2" name="Holder 5">
            <a:extLst>
              <a:ext uri="{FF2B5EF4-FFF2-40B4-BE49-F238E27FC236}">
                <a16:creationId xmlns:a16="http://schemas.microsoft.com/office/drawing/2014/main" id="{1496C1EB-2919-0530-D2C7-0A64CFBE92E1}"/>
              </a:ext>
            </a:extLst>
          </p:cNvPr>
          <p:cNvSpPr txBox="1">
            <a:spLocks/>
          </p:cNvSpPr>
          <p:nvPr userDrawn="1"/>
        </p:nvSpPr>
        <p:spPr>
          <a:xfrm>
            <a:off x="8740140" y="903141"/>
            <a:ext cx="2804160" cy="342900"/>
          </a:xfrm>
          <a:prstGeom prst="rect">
            <a:avLst/>
          </a:prstGeom>
        </p:spPr>
        <p:txBody>
          <a:bodyPr lIns="0" tIns="0" rIns="0" bIns="0"/>
          <a:lstStyle>
            <a:defPPr>
              <a:defRPr kern="0"/>
            </a:defPPr>
            <a:lvl1pPr algn="r">
              <a:defRPr>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5705594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Pr>
        <a:solidFill>
          <a:schemeClr val="bg1"/>
        </a:solidFill>
        <a:effectLst/>
      </p:bgPr>
    </p:bg>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B56701B9-59D9-241D-F7F5-1E8A558B1112}"/>
              </a:ext>
              <a:ext uri="{C183D7F6-B498-43B3-948B-1728B52AA6E4}">
                <adec:decorative xmlns:adec="http://schemas.microsoft.com/office/drawing/2017/decorative" val="1"/>
              </a:ext>
            </a:extLst>
          </p:cNvPr>
          <p:cNvSpPr/>
          <p:nvPr userDrawn="1"/>
        </p:nvSpPr>
        <p:spPr>
          <a:xfrm>
            <a:off x="229870" y="228600"/>
            <a:ext cx="11732260" cy="6400800"/>
          </a:xfrm>
          <a:custGeom>
            <a:avLst/>
            <a:gdLst/>
            <a:ahLst/>
            <a:cxnLst/>
            <a:rect l="l" t="t" r="r" b="b"/>
            <a:pathLst>
              <a:path w="11732260" h="6400800">
                <a:moveTo>
                  <a:pt x="11731752" y="0"/>
                </a:moveTo>
                <a:lnTo>
                  <a:pt x="0" y="0"/>
                </a:lnTo>
                <a:lnTo>
                  <a:pt x="0" y="6400800"/>
                </a:lnTo>
                <a:lnTo>
                  <a:pt x="11731752" y="6400800"/>
                </a:lnTo>
                <a:lnTo>
                  <a:pt x="11731752" y="0"/>
                </a:lnTo>
                <a:close/>
              </a:path>
            </a:pathLst>
          </a:custGeom>
          <a:solidFill>
            <a:srgbClr val="005295"/>
          </a:solidFill>
        </p:spPr>
        <p:txBody>
          <a:bodyPr wrap="square" lIns="0" tIns="0" rIns="0" bIns="0" rtlCol="0"/>
          <a:lstStyle/>
          <a:p>
            <a:endParaRPr/>
          </a:p>
        </p:txBody>
      </p:sp>
      <p:sp>
        <p:nvSpPr>
          <p:cNvPr id="4" name="object 3">
            <a:extLst>
              <a:ext uri="{FF2B5EF4-FFF2-40B4-BE49-F238E27FC236}">
                <a16:creationId xmlns:a16="http://schemas.microsoft.com/office/drawing/2014/main" id="{DAF467DB-6942-0500-3F1B-E23DDEE2AC15}"/>
              </a:ext>
            </a:extLst>
          </p:cNvPr>
          <p:cNvSpPr txBox="1">
            <a:spLocks noGrp="1"/>
          </p:cNvSpPr>
          <p:nvPr>
            <p:ph type="title"/>
          </p:nvPr>
        </p:nvSpPr>
        <p:spPr>
          <a:xfrm>
            <a:off x="4809707" y="2949900"/>
            <a:ext cx="2810293" cy="536044"/>
          </a:xfrm>
          <a:prstGeom prst="rect">
            <a:avLst/>
          </a:prstGeom>
        </p:spPr>
        <p:txBody>
          <a:bodyPr vert="horz" wrap="square" lIns="0" tIns="12700" rIns="0" bIns="0" rtlCol="0">
            <a:spAutoFit/>
          </a:bodyPr>
          <a:lstStyle/>
          <a:p>
            <a:pPr marL="12700">
              <a:lnSpc>
                <a:spcPct val="100000"/>
              </a:lnSpc>
              <a:spcBef>
                <a:spcPts val="100"/>
              </a:spcBef>
            </a:pPr>
            <a:r>
              <a:rPr sz="3400" b="0" i="0">
                <a:solidFill>
                  <a:srgbClr val="FFFFFF"/>
                </a:solidFill>
                <a:latin typeface="Poppins" panose="00000500000000000000" pitchFamily="2" charset="0"/>
                <a:cs typeface="Poppins" panose="00000500000000000000" pitchFamily="2" charset="0"/>
              </a:rPr>
              <a:t>Divider </a:t>
            </a:r>
            <a:r>
              <a:rPr sz="3400" b="0" i="0" spc="-20">
                <a:solidFill>
                  <a:srgbClr val="FFFFFF"/>
                </a:solidFill>
                <a:latin typeface="Poppins" panose="00000500000000000000" pitchFamily="2" charset="0"/>
                <a:cs typeface="Poppins" panose="00000500000000000000" pitchFamily="2" charset="0"/>
              </a:rPr>
              <a:t>Page</a:t>
            </a:r>
            <a:endParaRPr sz="340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16731810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901700" y="474979"/>
            <a:ext cx="10147300" cy="744221"/>
          </a:xfrm>
        </p:spPr>
        <p:txBody>
          <a:bodyPr lIns="0" tIns="0" rIns="0" bIns="0"/>
          <a:lstStyle>
            <a:lvl1pPr>
              <a:defRPr sz="3000" b="1" i="1">
                <a:solidFill>
                  <a:srgbClr val="005295"/>
                </a:solidFill>
                <a:latin typeface="ITCErasStd-Demi"/>
                <a:cs typeface="ITCErasStd-Demi"/>
              </a:defRPr>
            </a:lvl1pPr>
          </a:lstStyle>
          <a:p>
            <a:pPr marL="12700">
              <a:lnSpc>
                <a:spcPts val="3479"/>
              </a:lnSpc>
              <a:spcBef>
                <a:spcPts val="100"/>
              </a:spcBef>
            </a:pPr>
            <a:r>
              <a:rPr lang="en-US" sz="3200" i="0" spc="-10">
                <a:latin typeface="Poppins" pitchFamily="2" charset="77"/>
                <a:cs typeface="Poppins" pitchFamily="2" charset="77"/>
              </a:rPr>
              <a:t>Title</a:t>
            </a:r>
            <a:r>
              <a:rPr lang="en-US" sz="3200" i="0" spc="-180">
                <a:latin typeface="Poppins" pitchFamily="2" charset="77"/>
                <a:cs typeface="Poppins" pitchFamily="2" charset="77"/>
              </a:rPr>
              <a:t> </a:t>
            </a:r>
            <a:r>
              <a:rPr lang="en-US" sz="3200" i="0">
                <a:latin typeface="Poppins" pitchFamily="2" charset="77"/>
                <a:cs typeface="Poppins" pitchFamily="2" charset="77"/>
              </a:rPr>
              <a:t>Goes</a:t>
            </a:r>
            <a:r>
              <a:rPr lang="en-US" sz="3200" i="0" spc="-175">
                <a:latin typeface="Poppins" pitchFamily="2" charset="77"/>
                <a:cs typeface="Poppins" pitchFamily="2" charset="77"/>
              </a:rPr>
              <a:t> </a:t>
            </a:r>
            <a:r>
              <a:rPr lang="en-US" sz="3200" i="0" spc="-40">
                <a:latin typeface="Poppins" pitchFamily="2" charset="77"/>
                <a:cs typeface="Poppins" pitchFamily="2" charset="77"/>
              </a:rPr>
              <a:t>Here</a:t>
            </a:r>
            <a:br>
              <a:rPr lang="en-US" sz="3200" i="0" spc="-40">
                <a:latin typeface="Poppins" pitchFamily="2" charset="77"/>
                <a:cs typeface="Poppins" pitchFamily="2" charset="77"/>
              </a:rPr>
            </a:br>
            <a:r>
              <a:rPr lang="en-US" sz="2000" b="0" i="0" spc="-10">
                <a:latin typeface="Poppins" pitchFamily="2" charset="77"/>
                <a:cs typeface="Poppins" pitchFamily="2" charset="77"/>
              </a:rPr>
              <a:t>Subtitle</a:t>
            </a:r>
            <a:endParaRPr/>
          </a:p>
        </p:txBody>
      </p:sp>
      <p:sp>
        <p:nvSpPr>
          <p:cNvPr id="5" name="Holder 5">
            <a:extLst>
              <a:ext uri="{FF2B5EF4-FFF2-40B4-BE49-F238E27FC236}">
                <a16:creationId xmlns:a16="http://schemas.microsoft.com/office/drawing/2014/main" id="{DECF9B3F-75C0-8F6B-AEA8-DD20C3134515}"/>
              </a:ext>
            </a:extLst>
          </p:cNvPr>
          <p:cNvSpPr>
            <a:spLocks noGrp="1"/>
          </p:cNvSpPr>
          <p:nvPr>
            <p:ph type="sldNum" sz="quarter" idx="7"/>
          </p:nvPr>
        </p:nvSpPr>
        <p:spPr>
          <a:xfrm>
            <a:off x="8740140" y="903141"/>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6" name="Holder 3">
            <a:extLst>
              <a:ext uri="{FF2B5EF4-FFF2-40B4-BE49-F238E27FC236}">
                <a16:creationId xmlns:a16="http://schemas.microsoft.com/office/drawing/2014/main" id="{6962396F-9465-BEA5-7DBF-E925965D7879}"/>
              </a:ext>
            </a:extLst>
          </p:cNvPr>
          <p:cNvSpPr>
            <a:spLocks noGrp="1"/>
          </p:cNvSpPr>
          <p:nvPr>
            <p:ph idx="1"/>
          </p:nvPr>
        </p:nvSpPr>
        <p:spPr>
          <a:xfrm>
            <a:off x="901700" y="1959367"/>
            <a:ext cx="10199370" cy="2069797"/>
          </a:xfrm>
          <a:prstGeom prst="rect">
            <a:avLst/>
          </a:prstGeom>
        </p:spPr>
        <p:txBody>
          <a:bodyPr wrap="square" lIns="0" tIns="0" rIns="0" bIns="0">
            <a:spAutoFit/>
          </a:bodyPr>
          <a:lstStyle>
            <a:lvl1pPr>
              <a:defRPr sz="1600" b="1" i="0">
                <a:solidFill>
                  <a:srgbClr val="231F20"/>
                </a:solidFill>
                <a:latin typeface="HelveticaNeueLT Std"/>
                <a:cs typeface="HelveticaNeueLT Std"/>
              </a:defRPr>
            </a:lvl1pPr>
          </a:lstStyle>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For accessibility and usability, use Poppins font with the smallest size being 14pt font on all slides.</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Remember to run the accessibility checker! It’s built into all Microsoft products. To run, go to the ribbon and select Review &gt; Check Accessibility. OR go to File &gt; Info &gt; Inspect Presentation drop down &gt; Select Check Accessibility.  It will show the results in a pane on the right side. By selecting each item listed, it will jump you to the issue. There is information about the error and support for fixing it. </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Always start your presentation with a new template. Do not reuse a previous presentation.</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Make sure each slide has a unique title. Use ‘Part 1’ and ‘Part 2’ if you have more than one slide for the same topic.</a:t>
            </a:r>
          </a:p>
        </p:txBody>
      </p:sp>
      <p:sp>
        <p:nvSpPr>
          <p:cNvPr id="4" name="bg object 18">
            <a:extLst>
              <a:ext uri="{FF2B5EF4-FFF2-40B4-BE49-F238E27FC236}">
                <a16:creationId xmlns:a16="http://schemas.microsoft.com/office/drawing/2014/main" id="{2DD23F18-BACB-51E5-D986-AF468DA0BBE6}"/>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spTree>
    <p:extLst>
      <p:ext uri="{BB962C8B-B14F-4D97-AF65-F5344CB8AC3E}">
        <p14:creationId xmlns:p14="http://schemas.microsoft.com/office/powerpoint/2010/main" val="9571042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Holder 5">
            <a:extLst>
              <a:ext uri="{FF2B5EF4-FFF2-40B4-BE49-F238E27FC236}">
                <a16:creationId xmlns:a16="http://schemas.microsoft.com/office/drawing/2014/main" id="{6880C750-AB3C-9851-A6E3-E0E2F0194127}"/>
              </a:ext>
            </a:extLst>
          </p:cNvPr>
          <p:cNvSpPr txBox="1">
            <a:spLocks/>
          </p:cNvSpPr>
          <p:nvPr userDrawn="1"/>
        </p:nvSpPr>
        <p:spPr>
          <a:xfrm>
            <a:off x="8740140" y="903141"/>
            <a:ext cx="2804160" cy="342900"/>
          </a:xfrm>
          <a:prstGeom prst="rect">
            <a:avLst/>
          </a:prstGeom>
        </p:spPr>
        <p:txBody>
          <a:bodyPr lIns="0" tIns="0" rIns="0" bIns="0"/>
          <a:lstStyle>
            <a:defPPr>
              <a:defRPr kern="0"/>
            </a:defPPr>
            <a:lvl1pPr algn="r">
              <a:defRPr>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4551367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1B941-875B-4870-6901-B47AEA2BDA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52C5CEC-E67D-51F1-CC86-BCC775C2DD5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8C700D6-1E53-05E1-A893-100A5CC3ECF2}"/>
              </a:ext>
            </a:extLst>
          </p:cNvPr>
          <p:cNvSpPr>
            <a:spLocks noGrp="1"/>
          </p:cNvSpPr>
          <p:nvPr>
            <p:ph type="dt" sz="half" idx="10"/>
          </p:nvPr>
        </p:nvSpPr>
        <p:spPr/>
        <p:txBody>
          <a:bodyPr/>
          <a:lstStyle/>
          <a:p>
            <a:fld id="{71E4D831-C583-4838-B2A9-8C05C81289D6}" type="datetimeFigureOut">
              <a:rPr lang="en-US" smtClean="0"/>
              <a:t>10/24/2025</a:t>
            </a:fld>
            <a:endParaRPr lang="en-US"/>
          </a:p>
        </p:txBody>
      </p:sp>
      <p:sp>
        <p:nvSpPr>
          <p:cNvPr id="5" name="Footer Placeholder 4">
            <a:extLst>
              <a:ext uri="{FF2B5EF4-FFF2-40B4-BE49-F238E27FC236}">
                <a16:creationId xmlns:a16="http://schemas.microsoft.com/office/drawing/2014/main" id="{024A791A-EC7E-3C5A-F99A-11DDDA0917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B44347-DE0E-09DE-3B53-17AAD4FA2A63}"/>
              </a:ext>
            </a:extLst>
          </p:cNvPr>
          <p:cNvSpPr>
            <a:spLocks noGrp="1"/>
          </p:cNvSpPr>
          <p:nvPr>
            <p:ph type="sldNum" sz="quarter" idx="12"/>
          </p:nvPr>
        </p:nvSpPr>
        <p:spPr/>
        <p:txBody>
          <a:bodyPr/>
          <a:lstStyle/>
          <a:p>
            <a:fld id="{4648DA33-25B5-4D9D-B3D4-AE070CEE50AA}" type="slidenum">
              <a:rPr lang="en-US" smtClean="0"/>
              <a:t>‹#›</a:t>
            </a:fld>
            <a:endParaRPr lang="en-US"/>
          </a:p>
        </p:txBody>
      </p:sp>
    </p:spTree>
    <p:extLst>
      <p:ext uri="{BB962C8B-B14F-4D97-AF65-F5344CB8AC3E}">
        <p14:creationId xmlns:p14="http://schemas.microsoft.com/office/powerpoint/2010/main" val="39410847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609630"/>
            <a:fld id="{1D8BD707-D9CF-40AE-B4C6-C98DA3205C09}" type="datetimeFigureOut">
              <a:rPr lang="en-US" smtClean="0">
                <a:solidFill>
                  <a:prstClr val="black">
                    <a:tint val="75000"/>
                  </a:prstClr>
                </a:solidFill>
              </a:rPr>
              <a:pPr defTabSz="609630"/>
              <a:t>10/24/202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609630"/>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609630"/>
            <a:fld id="{B6F15528-21DE-4FAA-801E-634DDDAF4B2B}" type="slidenum">
              <a:rPr lang="en-US" smtClean="0">
                <a:solidFill>
                  <a:prstClr val="black">
                    <a:tint val="75000"/>
                  </a:prstClr>
                </a:solidFill>
              </a:rPr>
              <a:pPr defTabSz="609630"/>
              <a:t>‹#›</a:t>
            </a:fld>
            <a:endParaRPr lang="en-US">
              <a:solidFill>
                <a:prstClr val="black">
                  <a:tint val="75000"/>
                </a:prstClr>
              </a:solidFill>
            </a:endParaRPr>
          </a:p>
        </p:txBody>
      </p:sp>
    </p:spTree>
    <p:extLst>
      <p:ext uri="{BB962C8B-B14F-4D97-AF65-F5344CB8AC3E}">
        <p14:creationId xmlns:p14="http://schemas.microsoft.com/office/powerpoint/2010/main" val="2525416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68F6BC1-8266-4D12-96DD-909D5278AA3D}" type="datetimeFigureOut">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0/24/2025</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8" name="Footer Placeholder 7"/>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9" name="Slide Number Placeholder 8"/>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21358C-0DEE-4D35-BD14-2A70E6046756}" type="slidenum">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Tree>
    <p:extLst>
      <p:ext uri="{BB962C8B-B14F-4D97-AF65-F5344CB8AC3E}">
        <p14:creationId xmlns:p14="http://schemas.microsoft.com/office/powerpoint/2010/main" val="9110172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68F6BC1-8266-4D12-96DD-909D5278AA3D}" type="datetimeFigureOut">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0/24/2025</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5" name="Footer Placeholder 4"/>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21358C-0DEE-4D35-BD14-2A70E6046756}" type="slidenum">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Tree>
    <p:extLst>
      <p:ext uri="{BB962C8B-B14F-4D97-AF65-F5344CB8AC3E}">
        <p14:creationId xmlns:p14="http://schemas.microsoft.com/office/powerpoint/2010/main" val="3964186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68F6BC1-8266-4D12-96DD-909D5278AA3D}" type="datetimeFigureOut">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0/24/2025</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4" name="Footer Placeholder 3"/>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21358C-0DEE-4D35-BD14-2A70E6046756}" type="slidenum">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Tree>
    <p:extLst>
      <p:ext uri="{BB962C8B-B14F-4D97-AF65-F5344CB8AC3E}">
        <p14:creationId xmlns:p14="http://schemas.microsoft.com/office/powerpoint/2010/main" val="8664742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68F6BC1-8266-4D12-96DD-909D5278AA3D}" type="datetimeFigureOut">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0/24/2025</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3" name="Footer Placeholder 2"/>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4" name="Slide Number Placeholder 3"/>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21358C-0DEE-4D35-BD14-2A70E6046756}" type="slidenum">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Tree>
    <p:extLst>
      <p:ext uri="{BB962C8B-B14F-4D97-AF65-F5344CB8AC3E}">
        <p14:creationId xmlns:p14="http://schemas.microsoft.com/office/powerpoint/2010/main" val="24435820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8EB15-0F2C-73C9-5683-A0F2CB422B0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7CFAA09-1989-DE20-8416-F68E7E6B73E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8284355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Page">
    <p:bg>
      <p:bgPr>
        <a:solidFill>
          <a:schemeClr val="bg1"/>
        </a:solidFill>
        <a:effectLst/>
      </p:bgPr>
    </p:bg>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B56701B9-59D9-241D-F7F5-1E8A558B1112}"/>
              </a:ext>
              <a:ext uri="{C183D7F6-B498-43B3-948B-1728B52AA6E4}">
                <adec:decorative xmlns:adec="http://schemas.microsoft.com/office/drawing/2017/decorative" val="1"/>
              </a:ext>
            </a:extLst>
          </p:cNvPr>
          <p:cNvSpPr/>
          <p:nvPr/>
        </p:nvSpPr>
        <p:spPr>
          <a:xfrm>
            <a:off x="229870" y="228600"/>
            <a:ext cx="11732260" cy="6400800"/>
          </a:xfrm>
          <a:custGeom>
            <a:avLst/>
            <a:gdLst/>
            <a:ahLst/>
            <a:cxnLst/>
            <a:rect l="l" t="t" r="r" b="b"/>
            <a:pathLst>
              <a:path w="11732260" h="6400800">
                <a:moveTo>
                  <a:pt x="11731752" y="0"/>
                </a:moveTo>
                <a:lnTo>
                  <a:pt x="0" y="0"/>
                </a:lnTo>
                <a:lnTo>
                  <a:pt x="0" y="6400800"/>
                </a:lnTo>
                <a:lnTo>
                  <a:pt x="11731752" y="6400800"/>
                </a:lnTo>
                <a:lnTo>
                  <a:pt x="11731752" y="0"/>
                </a:lnTo>
                <a:close/>
              </a:path>
            </a:pathLst>
          </a:custGeom>
          <a:solidFill>
            <a:srgbClr val="005295"/>
          </a:solidFill>
        </p:spPr>
        <p:txBody>
          <a:bodyPr wrap="square" lIns="0" tIns="0" rIns="0" bIns="0" rtlCol="0"/>
          <a:lstStyle/>
          <a:p>
            <a:endParaRPr/>
          </a:p>
        </p:txBody>
      </p:sp>
      <p:sp>
        <p:nvSpPr>
          <p:cNvPr id="4" name="object 3">
            <a:extLst>
              <a:ext uri="{FF2B5EF4-FFF2-40B4-BE49-F238E27FC236}">
                <a16:creationId xmlns:a16="http://schemas.microsoft.com/office/drawing/2014/main" id="{DAF467DB-6942-0500-3F1B-E23DDEE2AC15}"/>
              </a:ext>
            </a:extLst>
          </p:cNvPr>
          <p:cNvSpPr txBox="1">
            <a:spLocks noGrp="1"/>
          </p:cNvSpPr>
          <p:nvPr>
            <p:ph type="title"/>
          </p:nvPr>
        </p:nvSpPr>
        <p:spPr>
          <a:xfrm>
            <a:off x="4809707" y="2949900"/>
            <a:ext cx="2810293" cy="536044"/>
          </a:xfrm>
          <a:prstGeom prst="rect">
            <a:avLst/>
          </a:prstGeom>
        </p:spPr>
        <p:txBody>
          <a:bodyPr vert="horz" wrap="square" lIns="0" tIns="12700" rIns="0" bIns="0" rtlCol="0">
            <a:spAutoFit/>
          </a:bodyPr>
          <a:lstStyle/>
          <a:p>
            <a:pPr marL="12700">
              <a:lnSpc>
                <a:spcPct val="100000"/>
              </a:lnSpc>
              <a:spcBef>
                <a:spcPts val="100"/>
              </a:spcBef>
            </a:pPr>
            <a:r>
              <a:rPr lang="en-US" sz="3400" b="0" i="0">
                <a:solidFill>
                  <a:srgbClr val="FFFFFF"/>
                </a:solidFill>
                <a:latin typeface="Poppins" panose="00000500000000000000" pitchFamily="2" charset="0"/>
                <a:cs typeface="Poppins" panose="00000500000000000000" pitchFamily="2" charset="0"/>
              </a:rPr>
              <a:t>Click to edit Master title style</a:t>
            </a:r>
            <a:endParaRPr sz="3400">
              <a:latin typeface="Poppins" panose="00000500000000000000" pitchFamily="2" charset="0"/>
              <a:cs typeface="Poppins" panose="00000500000000000000" pitchFamily="2" charset="0"/>
            </a:endParaRPr>
          </a:p>
        </p:txBody>
      </p:sp>
      <p:sp>
        <p:nvSpPr>
          <p:cNvPr id="3" name="object 2">
            <a:extLst>
              <a:ext uri="{FF2B5EF4-FFF2-40B4-BE49-F238E27FC236}">
                <a16:creationId xmlns:a16="http://schemas.microsoft.com/office/drawing/2014/main" id="{3178C474-2CA3-1DB5-D6F3-B33FDD9774D7}"/>
              </a:ext>
              <a:ext uri="{C183D7F6-B498-43B3-948B-1728B52AA6E4}">
                <adec:decorative xmlns:adec="http://schemas.microsoft.com/office/drawing/2017/decorative" val="1"/>
              </a:ext>
            </a:extLst>
          </p:cNvPr>
          <p:cNvSpPr/>
          <p:nvPr userDrawn="1"/>
        </p:nvSpPr>
        <p:spPr>
          <a:xfrm>
            <a:off x="229870" y="228600"/>
            <a:ext cx="11732260" cy="6400800"/>
          </a:xfrm>
          <a:custGeom>
            <a:avLst/>
            <a:gdLst/>
            <a:ahLst/>
            <a:cxnLst/>
            <a:rect l="l" t="t" r="r" b="b"/>
            <a:pathLst>
              <a:path w="11732260" h="6400800">
                <a:moveTo>
                  <a:pt x="11731752" y="0"/>
                </a:moveTo>
                <a:lnTo>
                  <a:pt x="0" y="0"/>
                </a:lnTo>
                <a:lnTo>
                  <a:pt x="0" y="6400800"/>
                </a:lnTo>
                <a:lnTo>
                  <a:pt x="11731752" y="6400800"/>
                </a:lnTo>
                <a:lnTo>
                  <a:pt x="11731752" y="0"/>
                </a:lnTo>
                <a:close/>
              </a:path>
            </a:pathLst>
          </a:custGeom>
          <a:solidFill>
            <a:srgbClr val="005295"/>
          </a:solidFill>
        </p:spPr>
        <p:txBody>
          <a:bodyPr wrap="square" lIns="0" tIns="0" rIns="0" bIns="0" rtlCol="0"/>
          <a:lstStyle/>
          <a:p>
            <a:endParaRPr/>
          </a:p>
        </p:txBody>
      </p:sp>
    </p:spTree>
    <p:extLst>
      <p:ext uri="{BB962C8B-B14F-4D97-AF65-F5344CB8AC3E}">
        <p14:creationId xmlns:p14="http://schemas.microsoft.com/office/powerpoint/2010/main" val="17466201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901700" y="474979"/>
            <a:ext cx="10147300" cy="744221"/>
          </a:xfrm>
        </p:spPr>
        <p:txBody>
          <a:bodyPr lIns="0" tIns="0" rIns="0" bIns="0"/>
          <a:lstStyle>
            <a:lvl1pPr>
              <a:defRPr sz="3000" b="1" i="1">
                <a:solidFill>
                  <a:srgbClr val="005295"/>
                </a:solidFill>
                <a:latin typeface="ITCErasStd-Demi"/>
                <a:cs typeface="ITCErasStd-Demi"/>
              </a:defRPr>
            </a:lvl1pPr>
          </a:lstStyle>
          <a:p>
            <a:pPr marL="12700">
              <a:lnSpc>
                <a:spcPts val="3479"/>
              </a:lnSpc>
              <a:spcBef>
                <a:spcPts val="100"/>
              </a:spcBef>
            </a:pPr>
            <a:r>
              <a:rPr lang="en-US" sz="3200" i="0" spc="-10">
                <a:latin typeface="Poppins" pitchFamily="2" charset="77"/>
                <a:cs typeface="Poppins" pitchFamily="2" charset="77"/>
              </a:rPr>
              <a:t>Title</a:t>
            </a:r>
            <a:r>
              <a:rPr lang="en-US" sz="3200" i="0" spc="-180">
                <a:latin typeface="Poppins" pitchFamily="2" charset="77"/>
                <a:cs typeface="Poppins" pitchFamily="2" charset="77"/>
              </a:rPr>
              <a:t> </a:t>
            </a:r>
            <a:r>
              <a:rPr lang="en-US" sz="3200" i="0">
                <a:latin typeface="Poppins" pitchFamily="2" charset="77"/>
                <a:cs typeface="Poppins" pitchFamily="2" charset="77"/>
              </a:rPr>
              <a:t>Goes</a:t>
            </a:r>
            <a:r>
              <a:rPr lang="en-US" sz="3200" i="0" spc="-175">
                <a:latin typeface="Poppins" pitchFamily="2" charset="77"/>
                <a:cs typeface="Poppins" pitchFamily="2" charset="77"/>
              </a:rPr>
              <a:t> </a:t>
            </a:r>
            <a:r>
              <a:rPr lang="en-US" sz="3200" i="0" spc="-40">
                <a:latin typeface="Poppins" pitchFamily="2" charset="77"/>
                <a:cs typeface="Poppins" pitchFamily="2" charset="77"/>
              </a:rPr>
              <a:t>Here</a:t>
            </a:r>
            <a:br>
              <a:rPr lang="en-US" sz="3200" i="0" spc="-40">
                <a:latin typeface="Poppins" pitchFamily="2" charset="77"/>
                <a:cs typeface="Poppins" pitchFamily="2" charset="77"/>
              </a:rPr>
            </a:br>
            <a:r>
              <a:rPr lang="en-US" sz="2000" b="0" i="0" spc="-10">
                <a:latin typeface="Poppins" pitchFamily="2" charset="77"/>
                <a:cs typeface="Poppins" pitchFamily="2" charset="77"/>
              </a:rPr>
              <a:t>Subtitle</a:t>
            </a:r>
            <a:endParaRPr/>
          </a:p>
        </p:txBody>
      </p:sp>
      <p:sp>
        <p:nvSpPr>
          <p:cNvPr id="5" name="Holder 5">
            <a:extLst>
              <a:ext uri="{FF2B5EF4-FFF2-40B4-BE49-F238E27FC236}">
                <a16:creationId xmlns:a16="http://schemas.microsoft.com/office/drawing/2014/main" id="{DECF9B3F-75C0-8F6B-AEA8-DD20C3134515}"/>
              </a:ext>
            </a:extLst>
          </p:cNvPr>
          <p:cNvSpPr>
            <a:spLocks noGrp="1"/>
          </p:cNvSpPr>
          <p:nvPr>
            <p:ph type="sldNum" sz="quarter" idx="7"/>
          </p:nvPr>
        </p:nvSpPr>
        <p:spPr>
          <a:xfrm>
            <a:off x="8740140" y="903141"/>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a:p>
        </p:txBody>
      </p:sp>
      <p:sp>
        <p:nvSpPr>
          <p:cNvPr id="6" name="Holder 3">
            <a:extLst>
              <a:ext uri="{FF2B5EF4-FFF2-40B4-BE49-F238E27FC236}">
                <a16:creationId xmlns:a16="http://schemas.microsoft.com/office/drawing/2014/main" id="{6962396F-9465-BEA5-7DBF-E925965D7879}"/>
              </a:ext>
            </a:extLst>
          </p:cNvPr>
          <p:cNvSpPr>
            <a:spLocks noGrp="1"/>
          </p:cNvSpPr>
          <p:nvPr>
            <p:ph idx="1"/>
          </p:nvPr>
        </p:nvSpPr>
        <p:spPr>
          <a:xfrm>
            <a:off x="901700" y="1959367"/>
            <a:ext cx="10199370" cy="2069797"/>
          </a:xfrm>
          <a:prstGeom prst="rect">
            <a:avLst/>
          </a:prstGeom>
        </p:spPr>
        <p:txBody>
          <a:bodyPr wrap="square" lIns="0" tIns="0" rIns="0" bIns="0">
            <a:spAutoFit/>
          </a:bodyPr>
          <a:lstStyle>
            <a:lvl1pPr>
              <a:defRPr sz="1600" b="1" i="0">
                <a:solidFill>
                  <a:srgbClr val="231F20"/>
                </a:solidFill>
                <a:latin typeface="HelveticaNeueLT Std"/>
                <a:cs typeface="HelveticaNeueLT Std"/>
              </a:defRPr>
            </a:lvl1pPr>
          </a:lstStyle>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Click to edit Master text styles</a:t>
            </a:r>
          </a:p>
          <a:p>
            <a:pPr marL="241300" marR="5080" lvl="1"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Second level</a:t>
            </a:r>
          </a:p>
          <a:p>
            <a:pPr marL="241300" marR="5080" lvl="2"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Third level</a:t>
            </a:r>
          </a:p>
          <a:p>
            <a:pPr marL="241300" marR="5080" lvl="3"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Fourth level</a:t>
            </a:r>
          </a:p>
        </p:txBody>
      </p:sp>
      <p:sp>
        <p:nvSpPr>
          <p:cNvPr id="4" name="bg object 18">
            <a:extLst>
              <a:ext uri="{FF2B5EF4-FFF2-40B4-BE49-F238E27FC236}">
                <a16:creationId xmlns:a16="http://schemas.microsoft.com/office/drawing/2014/main" id="{2DD23F18-BACB-51E5-D986-AF468DA0BBE6}"/>
              </a:ext>
              <a:ext uri="{C183D7F6-B498-43B3-948B-1728B52AA6E4}">
                <adec:decorative xmlns:adec="http://schemas.microsoft.com/office/drawing/2017/decorative" val="1"/>
              </a:ext>
            </a:extLst>
          </p:cNvPr>
          <p:cNvSpPr/>
          <p:nvPr/>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sp>
        <p:nvSpPr>
          <p:cNvPr id="3" name="bg object 18">
            <a:extLst>
              <a:ext uri="{FF2B5EF4-FFF2-40B4-BE49-F238E27FC236}">
                <a16:creationId xmlns:a16="http://schemas.microsoft.com/office/drawing/2014/main" id="{C0C25CA3-2238-AC3C-CC80-142EBA7CB74D}"/>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spTree>
    <p:extLst>
      <p:ext uri="{BB962C8B-B14F-4D97-AF65-F5344CB8AC3E}">
        <p14:creationId xmlns:p14="http://schemas.microsoft.com/office/powerpoint/2010/main" val="21577821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wo Content">
    <p:bg>
      <p:bgPr>
        <a:solidFill>
          <a:schemeClr val="bg1"/>
        </a:solidFill>
        <a:effectLst/>
      </p:bgPr>
    </p:bg>
    <p:spTree>
      <p:nvGrpSpPr>
        <p:cNvPr id="1" name=""/>
        <p:cNvGrpSpPr/>
        <p:nvPr/>
      </p:nvGrpSpPr>
      <p:grpSpPr>
        <a:xfrm>
          <a:off x="0" y="0"/>
          <a:ext cx="0" cy="0"/>
          <a:chOff x="0" y="0"/>
          <a:chExt cx="0" cy="0"/>
        </a:xfrm>
      </p:grpSpPr>
      <p:sp>
        <p:nvSpPr>
          <p:cNvPr id="19" name="bg object 16">
            <a:extLst>
              <a:ext uri="{FF2B5EF4-FFF2-40B4-BE49-F238E27FC236}">
                <a16:creationId xmlns:a16="http://schemas.microsoft.com/office/drawing/2014/main" id="{2AC8AB4D-6CCA-9C10-4439-1845DC24E5AD}"/>
              </a:ext>
              <a:ext uri="{C183D7F6-B498-43B3-948B-1728B52AA6E4}">
                <adec:decorative xmlns:adec="http://schemas.microsoft.com/office/drawing/2017/decorative" val="1"/>
              </a:ext>
            </a:extLst>
          </p:cNvPr>
          <p:cNvSpPr/>
          <p:nvPr/>
        </p:nvSpPr>
        <p:spPr>
          <a:xfrm>
            <a:off x="5029199" y="228600"/>
            <a:ext cx="6931659" cy="6400800"/>
          </a:xfrm>
          <a:custGeom>
            <a:avLst/>
            <a:gdLst/>
            <a:ahLst/>
            <a:cxnLst/>
            <a:rect l="l" t="t" r="r" b="b"/>
            <a:pathLst>
              <a:path w="6931659" h="6400800">
                <a:moveTo>
                  <a:pt x="6931152" y="0"/>
                </a:moveTo>
                <a:lnTo>
                  <a:pt x="0" y="0"/>
                </a:lnTo>
                <a:lnTo>
                  <a:pt x="0" y="6400800"/>
                </a:lnTo>
                <a:lnTo>
                  <a:pt x="6931152" y="6400800"/>
                </a:lnTo>
                <a:lnTo>
                  <a:pt x="6931152" y="0"/>
                </a:lnTo>
                <a:close/>
              </a:path>
            </a:pathLst>
          </a:custGeom>
          <a:solidFill>
            <a:srgbClr val="005295"/>
          </a:solidFill>
        </p:spPr>
        <p:txBody>
          <a:bodyPr wrap="square" lIns="0" tIns="0" rIns="0" bIns="0" rtlCol="0"/>
          <a:lstStyle/>
          <a:p>
            <a:endParaRPr/>
          </a:p>
        </p:txBody>
      </p:sp>
      <p:sp>
        <p:nvSpPr>
          <p:cNvPr id="20" name="bg object 17">
            <a:extLst>
              <a:ext uri="{FF2B5EF4-FFF2-40B4-BE49-F238E27FC236}">
                <a16:creationId xmlns:a16="http://schemas.microsoft.com/office/drawing/2014/main" id="{306F9929-309B-AE0A-0801-DEA2FA8780F7}"/>
              </a:ext>
              <a:ext uri="{C183D7F6-B498-43B3-948B-1728B52AA6E4}">
                <adec:decorative xmlns:adec="http://schemas.microsoft.com/office/drawing/2017/decorative" val="1"/>
              </a:ext>
            </a:extLst>
          </p:cNvPr>
          <p:cNvSpPr/>
          <p:nvPr/>
        </p:nvSpPr>
        <p:spPr>
          <a:xfrm>
            <a:off x="4594859" y="228600"/>
            <a:ext cx="219710" cy="6400800"/>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21" name="bg object 18">
            <a:extLst>
              <a:ext uri="{FF2B5EF4-FFF2-40B4-BE49-F238E27FC236}">
                <a16:creationId xmlns:a16="http://schemas.microsoft.com/office/drawing/2014/main" id="{013F3A6A-D126-C795-AE9C-EDBE980AC27D}"/>
              </a:ext>
              <a:ext uri="{C183D7F6-B498-43B3-948B-1728B52AA6E4}">
                <adec:decorative xmlns:adec="http://schemas.microsoft.com/office/drawing/2017/decorative" val="1"/>
              </a:ext>
            </a:extLst>
          </p:cNvPr>
          <p:cNvSpPr/>
          <p:nvPr/>
        </p:nvSpPr>
        <p:spPr>
          <a:xfrm>
            <a:off x="4813299" y="228600"/>
            <a:ext cx="219710" cy="6400800"/>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sp>
        <p:nvSpPr>
          <p:cNvPr id="22" name="object 2">
            <a:extLst>
              <a:ext uri="{FF2B5EF4-FFF2-40B4-BE49-F238E27FC236}">
                <a16:creationId xmlns:a16="http://schemas.microsoft.com/office/drawing/2014/main" id="{DCEC600F-3810-77DA-CB9B-79BE090A57F9}"/>
              </a:ext>
            </a:extLst>
          </p:cNvPr>
          <p:cNvSpPr txBox="1">
            <a:spLocks noGrp="1"/>
          </p:cNvSpPr>
          <p:nvPr>
            <p:ph type="title" idx="4294967295"/>
          </p:nvPr>
        </p:nvSpPr>
        <p:spPr>
          <a:xfrm>
            <a:off x="444500" y="2787736"/>
            <a:ext cx="2280920" cy="1213794"/>
          </a:xfrm>
          <a:prstGeom prst="rect">
            <a:avLst/>
          </a:prstGeom>
          <a:noFill/>
          <a:ln>
            <a:noFill/>
            <a:prstDash/>
          </a:ln>
          <a:effectLst/>
        </p:spPr>
        <p:txBody>
          <a:bodyPr rot="0" spcFirstLastPara="0" vertOverflow="overflow" horzOverflow="overflow" vert="horz" wrap="square" lIns="0" tIns="109220" rIns="0" bIns="0" numCol="1" spcCol="0" rtlCol="0" fromWordArt="0" anchor="t" anchorCtr="0" forceAA="0" compatLnSpc="1">
            <a:prstTxWarp prst="textNoShape">
              <a:avLst/>
            </a:prstTxWarp>
            <a:spAutoFit/>
          </a:bodyPr>
          <a:lstStyle/>
          <a:p>
            <a:pPr marL="12700" marR="5080" lvl="0" indent="0" defTabSz="914400" eaLnBrk="1" fontAlgn="auto" latinLnBrk="0" hangingPunct="1">
              <a:lnSpc>
                <a:spcPts val="4300"/>
              </a:lnSpc>
              <a:spcBef>
                <a:spcPts val="860"/>
              </a:spcBef>
              <a:spcAft>
                <a:spcPts val="0"/>
              </a:spcAft>
              <a:buClrTx/>
              <a:buSzTx/>
              <a:buFontTx/>
              <a:buNone/>
              <a:tabLst/>
              <a:defRPr/>
            </a:pPr>
            <a:r>
              <a:rPr kumimoji="0" lang="en-US" sz="3600" b="1" i="0" u="none" strike="noStrike" kern="0" cap="none" spc="-70" normalizeH="0" baseline="0" noProof="0">
                <a:ln>
                  <a:noFill/>
                </a:ln>
                <a:solidFill>
                  <a:srgbClr val="005295"/>
                </a:solidFill>
                <a:effectLst/>
                <a:uLnTx/>
                <a:uFillTx/>
                <a:latin typeface="Poppins" pitchFamily="2" charset="77"/>
                <a:cs typeface="Poppins" pitchFamily="2" charset="77"/>
              </a:rPr>
              <a:t>Click to edit Master title style</a:t>
            </a:r>
            <a:endParaRPr kumimoji="0" lang="en-US" sz="3600" b="0" i="0" u="none" strike="noStrike" kern="0" cap="none" spc="0" normalizeH="0" baseline="0" noProof="0">
              <a:ln>
                <a:noFill/>
              </a:ln>
              <a:solidFill>
                <a:sysClr val="windowText" lastClr="000000"/>
              </a:solidFill>
              <a:effectLst/>
              <a:uLnTx/>
              <a:uFillTx/>
              <a:latin typeface="Poppins" pitchFamily="2" charset="77"/>
              <a:cs typeface="Poppins" pitchFamily="2" charset="77"/>
            </a:endParaRPr>
          </a:p>
        </p:txBody>
      </p:sp>
    </p:spTree>
    <p:extLst>
      <p:ext uri="{BB962C8B-B14F-4D97-AF65-F5344CB8AC3E}">
        <p14:creationId xmlns:p14="http://schemas.microsoft.com/office/powerpoint/2010/main" val="380909990"/>
      </p:ext>
    </p:extLst>
  </p:cSld>
  <p:clrMapOvr>
    <a:masterClrMapping/>
  </p:clrMapOvr>
  <p:hf hdr="0" ft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3.emf"/><Relationship Id="rId2"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oleObject" Target="../embeddings/oleObject1.bin"/><Relationship Id="rId5" Type="http://schemas.openxmlformats.org/officeDocument/2006/relationships/image" Target="../media/image2.png"/><Relationship Id="rId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4.png"/><Relationship Id="rId5" Type="http://schemas.openxmlformats.org/officeDocument/2006/relationships/slideLayout" Target="../slideLayouts/slideLayout11.xml"/><Relationship Id="rId10" Type="http://schemas.openxmlformats.org/officeDocument/2006/relationships/theme" Target="../theme/theme3.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C68F6BC1-8266-4D12-96DD-909D5278AA3D}" type="datetimeFigureOut">
              <a:rPr lang="en-US" smtClean="0"/>
              <a:t>10/24/2025</a:t>
            </a:fld>
            <a:endParaRPr lang="en-US"/>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4421358C-0DEE-4D35-BD14-2A70E6046756}" type="slidenum">
              <a:rPr lang="en-US" smtClean="0"/>
              <a:t>‹#›</a:t>
            </a:fld>
            <a:endParaRPr lang="en-US"/>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0680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70" r:id="rId5"/>
  </p:sldLayoutIdLst>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7470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544118588"/>
      </p:ext>
    </p:extLst>
  </p:cSld>
  <p:clrMap bg1="lt1" tx1="dk1" bg2="lt2" tx2="dk2" accent1="accent1" accent2="accent2" accent3="accent3" accent4="accent4" accent5="accent5" accent6="accent6" hlink="hlink" folHlink="folHlink"/>
  <p:sldLayoutIdLst>
    <p:sldLayoutId id="2147483687" r:id="rId1"/>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01700" y="474979"/>
            <a:ext cx="10199370" cy="856325"/>
          </a:xfrm>
          <a:prstGeom prst="rect">
            <a:avLst/>
          </a:prstGeom>
        </p:spPr>
        <p:txBody>
          <a:bodyPr wrap="square" lIns="0" tIns="0" rIns="0" bIns="0">
            <a:spAutoFit/>
          </a:bodyPr>
          <a:lstStyle>
            <a:lvl1pPr>
              <a:defRPr sz="3000" b="1" i="1">
                <a:solidFill>
                  <a:srgbClr val="005295"/>
                </a:solidFill>
                <a:latin typeface="ITCErasStd-Demi"/>
                <a:cs typeface="ITCErasStd-Demi"/>
              </a:defRPr>
            </a:lvl1pPr>
          </a:lstStyle>
          <a:p>
            <a:pPr marL="12700">
              <a:lnSpc>
                <a:spcPts val="3479"/>
              </a:lnSpc>
              <a:spcBef>
                <a:spcPts val="100"/>
              </a:spcBef>
            </a:pPr>
            <a:r>
              <a:rPr lang="en-US" sz="3200" i="0" spc="-10">
                <a:latin typeface="Poppins" pitchFamily="2" charset="77"/>
                <a:cs typeface="Poppins" pitchFamily="2" charset="77"/>
              </a:rPr>
              <a:t>Title</a:t>
            </a:r>
            <a:r>
              <a:rPr lang="en-US" sz="3200" i="0" spc="-180">
                <a:latin typeface="Poppins" pitchFamily="2" charset="77"/>
                <a:cs typeface="Poppins" pitchFamily="2" charset="77"/>
              </a:rPr>
              <a:t> </a:t>
            </a:r>
            <a:r>
              <a:rPr lang="en-US" sz="3200" i="0">
                <a:latin typeface="Poppins" pitchFamily="2" charset="77"/>
                <a:cs typeface="Poppins" pitchFamily="2" charset="77"/>
              </a:rPr>
              <a:t>Goes</a:t>
            </a:r>
            <a:r>
              <a:rPr lang="en-US" sz="3200" i="0" spc="-175">
                <a:latin typeface="Poppins" pitchFamily="2" charset="77"/>
                <a:cs typeface="Poppins" pitchFamily="2" charset="77"/>
              </a:rPr>
              <a:t> </a:t>
            </a:r>
            <a:r>
              <a:rPr lang="en-US" sz="3200" i="0" spc="-40">
                <a:latin typeface="Poppins" pitchFamily="2" charset="77"/>
                <a:cs typeface="Poppins" pitchFamily="2" charset="77"/>
              </a:rPr>
              <a:t>Here</a:t>
            </a:r>
            <a:br>
              <a:rPr lang="en-US" sz="3200" i="0" spc="-40">
                <a:latin typeface="Poppins" pitchFamily="2" charset="77"/>
                <a:cs typeface="Poppins" pitchFamily="2" charset="77"/>
              </a:rPr>
            </a:br>
            <a:r>
              <a:rPr lang="en-US" sz="2000" b="0" i="0" spc="-10">
                <a:latin typeface="Poppins" pitchFamily="2" charset="77"/>
                <a:cs typeface="Poppins" pitchFamily="2" charset="77"/>
              </a:rPr>
              <a:t>Subtitle</a:t>
            </a:r>
            <a:endParaRPr/>
          </a:p>
        </p:txBody>
      </p:sp>
      <p:sp>
        <p:nvSpPr>
          <p:cNvPr id="3" name="Holder 3"/>
          <p:cNvSpPr>
            <a:spLocks noGrp="1"/>
          </p:cNvSpPr>
          <p:nvPr>
            <p:ph type="body" idx="1"/>
          </p:nvPr>
        </p:nvSpPr>
        <p:spPr>
          <a:xfrm>
            <a:off x="901700" y="1959367"/>
            <a:ext cx="10199370" cy="2069797"/>
          </a:xfrm>
          <a:prstGeom prst="rect">
            <a:avLst/>
          </a:prstGeom>
        </p:spPr>
        <p:txBody>
          <a:bodyPr wrap="square" lIns="0" tIns="0" rIns="0" bIns="0">
            <a:spAutoFit/>
          </a:bodyPr>
          <a:lstStyle>
            <a:lvl1pPr>
              <a:defRPr sz="1800" b="1" i="0">
                <a:solidFill>
                  <a:srgbClr val="231F20"/>
                </a:solidFill>
                <a:latin typeface="HelveticaNeueLT Std"/>
                <a:cs typeface="HelveticaNeueLT Std"/>
              </a:defRPr>
            </a:lvl1pPr>
          </a:lstStyle>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For accessibility and usability, use Poppins font with the smallest size being 14pt font on all slides.</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Remember to run the accessibility checker! It’s built into all Microsoft products. To run, go to the ribbon and select Review &gt; Check Accessibility. OR go to File &gt; Info &gt; Inspect Presentation drop down &gt; Select Check Accessibility.  It will show the results in a pane on the right side. By selecting each item listed, it will jump you to the issue. There is information about the error and support for fixing it. </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Always start your presentation with a new template. Do not reuse a previous presentation.</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Make sure each slide has a unique title. Use ‘Part 1’ and ‘Part 2’ if you have more than one slide for the same topic.</a:t>
            </a:r>
          </a:p>
        </p:txBody>
      </p:sp>
      <p:sp>
        <p:nvSpPr>
          <p:cNvPr id="7" name="bg object 17">
            <a:extLst>
              <a:ext uri="{FF2B5EF4-FFF2-40B4-BE49-F238E27FC236}">
                <a16:creationId xmlns:a16="http://schemas.microsoft.com/office/drawing/2014/main" id="{5104C654-EB52-AD93-04AC-CB454DD5F31F}"/>
              </a:ext>
              <a:ext uri="{C183D7F6-B498-43B3-948B-1728B52AA6E4}">
                <adec:decorative xmlns:adec="http://schemas.microsoft.com/office/drawing/2017/decorative" val="1"/>
              </a:ext>
            </a:extLst>
          </p:cNvPr>
          <p:cNvSpPr/>
          <p:nvPr/>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8" name="bg object 18">
            <a:extLst>
              <a:ext uri="{FF2B5EF4-FFF2-40B4-BE49-F238E27FC236}">
                <a16:creationId xmlns:a16="http://schemas.microsoft.com/office/drawing/2014/main" id="{6154190B-DFD1-6D3D-E16D-4BA473BE13E3}"/>
              </a:ext>
              <a:ext uri="{C183D7F6-B498-43B3-948B-1728B52AA6E4}">
                <adec:decorative xmlns:adec="http://schemas.microsoft.com/office/drawing/2017/decorative" val="1"/>
              </a:ext>
            </a:extLst>
          </p:cNvPr>
          <p:cNvSpPr/>
          <p:nvPr/>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9" name="object 7" descr="MassDOT Logo">
            <a:extLst>
              <a:ext uri="{FF2B5EF4-FFF2-40B4-BE49-F238E27FC236}">
                <a16:creationId xmlns:a16="http://schemas.microsoft.com/office/drawing/2014/main" id="{443BEFB0-71BD-4149-0537-7447E565E401}"/>
              </a:ext>
              <a:ext uri="{C183D7F6-B498-43B3-948B-1728B52AA6E4}">
                <adec:decorative xmlns:adec="http://schemas.microsoft.com/office/drawing/2017/decorative" val="0"/>
              </a:ext>
            </a:extLst>
          </p:cNvPr>
          <p:cNvPicPr/>
          <p:nvPr/>
        </p:nvPicPr>
        <p:blipFill>
          <a:blip r:embed="rId11" cstate="print"/>
          <a:stretch>
            <a:fillRect/>
          </a:stretch>
        </p:blipFill>
        <p:spPr>
          <a:xfrm>
            <a:off x="9345193" y="6083300"/>
            <a:ext cx="2199100" cy="444494"/>
          </a:xfrm>
          <a:prstGeom prst="rect">
            <a:avLst/>
          </a:prstGeom>
        </p:spPr>
      </p:pic>
      <p:sp>
        <p:nvSpPr>
          <p:cNvPr id="4" name="bg object 17">
            <a:extLst>
              <a:ext uri="{FF2B5EF4-FFF2-40B4-BE49-F238E27FC236}">
                <a16:creationId xmlns:a16="http://schemas.microsoft.com/office/drawing/2014/main" id="{022259BC-4E9D-9794-E40F-3D7450B97BBE}"/>
              </a:ext>
              <a:ext uri="{C183D7F6-B498-43B3-948B-1728B52AA6E4}">
                <adec:decorative xmlns:adec="http://schemas.microsoft.com/office/drawing/2017/decorative" val="1"/>
              </a:ext>
            </a:extLst>
          </p:cNvPr>
          <p:cNvSpPr/>
          <p:nvPr userDrawn="1"/>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5" name="bg object 18">
            <a:extLst>
              <a:ext uri="{FF2B5EF4-FFF2-40B4-BE49-F238E27FC236}">
                <a16:creationId xmlns:a16="http://schemas.microsoft.com/office/drawing/2014/main" id="{BD615877-9B07-91D4-E99D-23592BF1C071}"/>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6" name="object 7" descr="MassDOT Logo">
            <a:extLst>
              <a:ext uri="{FF2B5EF4-FFF2-40B4-BE49-F238E27FC236}">
                <a16:creationId xmlns:a16="http://schemas.microsoft.com/office/drawing/2014/main" id="{C9FCAC5B-52B7-F521-E34E-42BB4C523815}"/>
              </a:ext>
              <a:ext uri="{C183D7F6-B498-43B3-948B-1728B52AA6E4}">
                <adec:decorative xmlns:adec="http://schemas.microsoft.com/office/drawing/2017/decorative" val="0"/>
              </a:ext>
            </a:extLst>
          </p:cNvPr>
          <p:cNvPicPr/>
          <p:nvPr userDrawn="1"/>
        </p:nvPicPr>
        <p:blipFill>
          <a:blip r:embed="rId11" cstate="print"/>
          <a:stretch>
            <a:fillRect/>
          </a:stretch>
        </p:blipFill>
        <p:spPr>
          <a:xfrm>
            <a:off x="9345193" y="6083300"/>
            <a:ext cx="2199100" cy="444494"/>
          </a:xfrm>
          <a:prstGeom prst="rect">
            <a:avLst/>
          </a:prstGeom>
        </p:spPr>
      </p:pic>
    </p:spTree>
    <p:extLst>
      <p:ext uri="{BB962C8B-B14F-4D97-AF65-F5344CB8AC3E}">
        <p14:creationId xmlns:p14="http://schemas.microsoft.com/office/powerpoint/2010/main" val="24120950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Lst>
  <p:hf hdr="0" ftr="0" dt="0"/>
  <p:txStyles>
    <p:titleStyle>
      <a:lvl1pPr eaLnBrk="1" hangingPunct="1">
        <a:defRPr>
          <a:latin typeface="+mj-lt"/>
          <a:ea typeface="+mj-ea"/>
          <a:cs typeface="+mj-cs"/>
        </a:defRPr>
      </a:lvl1pPr>
    </p:titleStyle>
    <p:bodyStyle>
      <a:lvl1pPr marL="12700" indent="0" eaLnBrk="1" hangingPunct="1">
        <a:buNone/>
        <a:defRPr lang="en-US" sz="1600" b="0" baseline="0" dirty="0" smtClean="0">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0/24/2025</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610514290"/>
      </p:ext>
    </p:extLst>
  </p:cSld>
  <p:clrMap bg1="lt1" tx1="dk1" bg2="lt2" tx2="dk2" accent1="accent1" accent2="accent2" accent3="accent3" accent4="accent4" accent5="accent5" accent6="accent6" hlink="hlink" folHlink="folHlink"/>
  <p:sldLayoutIdLst>
    <p:sldLayoutId id="2147483689" r:id="rId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mailto:fedfundsinfra@mass.gov"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hyperlink" Target="https://www.mass.gov/forms/municipal-and-tribal-technical-assistance-grant-program-application"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hyperlink" Target="https://www.mass.gov/info-details/ffio-technical-assistance-programs" TargetMode="External"/><Relationship Id="rId4" Type="http://schemas.openxmlformats.org/officeDocument/2006/relationships/hyperlink" Target="https://www.mass.gov/forms/technical-assistance-grants-for-regional-planning-agencies-application"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hyperlink" Target="mailto:fedfundsinfra@mass.gov"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hyperlink" Target="https://www.grants.gov/"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urldefense.com/v3/__https:/ffis.us20.list-manage.com/track/click?u=16c4868c51f1ec364e11316a2&amp;id=fa2d0c4c34&amp;e=c602dc0a82__;!!CPANwP4y!VdxLGpur05g-cepWHdt9E_3Whw04dYYD3x_uDK_nSLF3l3KqMm_BIwUap03jv7_0Pjl2q8woAh3VYzf9hgHyAw$"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hyperlink" Target="https://www.mass.gov/lists/community-grant-finder" TargetMode="External"/><Relationship Id="rId2" Type="http://schemas.openxmlformats.org/officeDocument/2006/relationships/image" Target="../media/image21.png"/><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hyperlink" Target="mailto:FedFundsInfra@mass.gov" TargetMode="External"/><Relationship Id="rId2" Type="http://schemas.openxmlformats.org/officeDocument/2006/relationships/image" Target="../media/image26.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29.jpe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28.jpeg"/><Relationship Id="rId5" Type="http://schemas.openxmlformats.org/officeDocument/2006/relationships/hyperlink" Target="mailto:Derek.Krevat@dot.state.ma.us" TargetMode="External"/><Relationship Id="rId4" Type="http://schemas.openxmlformats.org/officeDocument/2006/relationships/hyperlink" Target="https://madothway.my.site.com/GrantCentral/s/leap-public-overview"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hyperlink" Target="https://umassboston.co1.qualtrics.com/jfe/form/SV_eKWN0w6WJnFcwqq"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5.jpeg"/></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svg"/><Relationship Id="rId7" Type="http://schemas.openxmlformats.org/officeDocument/2006/relationships/image" Target="../media/image44.svg"/><Relationship Id="rId2" Type="http://schemas.openxmlformats.org/officeDocument/2006/relationships/image" Target="../media/image39.png"/><Relationship Id="rId1" Type="http://schemas.openxmlformats.org/officeDocument/2006/relationships/slideLayout" Target="../slideLayouts/slideLayout5.xml"/><Relationship Id="rId6" Type="http://schemas.openxmlformats.org/officeDocument/2006/relationships/image" Target="../media/image43.png"/><Relationship Id="rId5" Type="http://schemas.openxmlformats.org/officeDocument/2006/relationships/image" Target="../media/image42.svg"/><Relationship Id="rId4" Type="http://schemas.openxmlformats.org/officeDocument/2006/relationships/image" Target="../media/image41.png"/><Relationship Id="rId9" Type="http://schemas.openxmlformats.org/officeDocument/2006/relationships/image" Target="../media/image46.sv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hyperlink" Target="https://www.mass.gov/info-details/massachusetts-federal-grant-matching-funds" TargetMode="External"/><Relationship Id="rId2" Type="http://schemas.openxmlformats.org/officeDocument/2006/relationships/hyperlink" Target="https://forms.office.com/Pages/ResponsePage.aspx?id=Fh2GPrdIDkqYBowE2Bt7KhfzQgLHqeZApubrvc3icp5UNkVaMkQxUU4wSFQxNzNHRTFQWllZRk5DTS4u"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32">
            <a:extLst>
              <a:ext uri="{FF2B5EF4-FFF2-40B4-BE49-F238E27FC236}">
                <a16:creationId xmlns:a16="http://schemas.microsoft.com/office/drawing/2014/main" id="{A540FAC9-3505-49ED-9B06-A0F8C14853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35" name="Rectangle 34">
            <a:extLst>
              <a:ext uri="{FF2B5EF4-FFF2-40B4-BE49-F238E27FC236}">
                <a16:creationId xmlns:a16="http://schemas.microsoft.com/office/drawing/2014/main" id="{9879B3CD-E329-42F5-B136-BA1F37EC05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5464" y="484632"/>
            <a:ext cx="7453538" cy="58809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0F387882-DF90-E287-A6BF-24F2BC095DCF}"/>
              </a:ext>
            </a:extLst>
          </p:cNvPr>
          <p:cNvSpPr>
            <a:spLocks noGrp="1"/>
          </p:cNvSpPr>
          <p:nvPr>
            <p:ph type="ctrTitle"/>
          </p:nvPr>
        </p:nvSpPr>
        <p:spPr>
          <a:xfrm>
            <a:off x="990096" y="977900"/>
            <a:ext cx="6539558" cy="3327734"/>
          </a:xfrm>
        </p:spPr>
        <p:txBody>
          <a:bodyPr anchor="b">
            <a:normAutofit/>
          </a:bodyPr>
          <a:lstStyle/>
          <a:p>
            <a:r>
              <a:rPr lang="en-US" sz="5400"/>
              <a:t>Federal funds &amp; infrastructure office </a:t>
            </a:r>
            <a:r>
              <a:rPr lang="en-US" sz="5400" b="1"/>
              <a:t>community tour</a:t>
            </a:r>
          </a:p>
        </p:txBody>
      </p:sp>
      <p:sp>
        <p:nvSpPr>
          <p:cNvPr id="3" name="Subtitle 2">
            <a:extLst>
              <a:ext uri="{FF2B5EF4-FFF2-40B4-BE49-F238E27FC236}">
                <a16:creationId xmlns:a16="http://schemas.microsoft.com/office/drawing/2014/main" id="{6BF96C16-BDB2-15EE-4778-FA5D2DB3A873}"/>
              </a:ext>
            </a:extLst>
          </p:cNvPr>
          <p:cNvSpPr>
            <a:spLocks noGrp="1"/>
          </p:cNvSpPr>
          <p:nvPr>
            <p:ph type="subTitle" idx="1"/>
          </p:nvPr>
        </p:nvSpPr>
        <p:spPr>
          <a:xfrm>
            <a:off x="990096" y="4621235"/>
            <a:ext cx="6539558" cy="1225028"/>
          </a:xfrm>
        </p:spPr>
        <p:txBody>
          <a:bodyPr anchor="t">
            <a:normAutofit/>
          </a:bodyPr>
          <a:lstStyle/>
          <a:p>
            <a:pPr algn="r"/>
            <a:r>
              <a:rPr lang="en-US" sz="2000"/>
              <a:t>Lynn City Hall, City Council Chambers – Lynn</a:t>
            </a:r>
          </a:p>
          <a:p>
            <a:pPr algn="r"/>
            <a:r>
              <a:rPr lang="en-US" sz="2000"/>
              <a:t>October 15, 2025</a:t>
            </a:r>
          </a:p>
        </p:txBody>
      </p:sp>
      <p:cxnSp>
        <p:nvCxnSpPr>
          <p:cNvPr id="37" name="Straight Connector 36">
            <a:extLst>
              <a:ext uri="{FF2B5EF4-FFF2-40B4-BE49-F238E27FC236}">
                <a16:creationId xmlns:a16="http://schemas.microsoft.com/office/drawing/2014/main" id="{51B042EF-3024-4C57-B282-1B30607FB7C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158680" y="4476657"/>
            <a:ext cx="5370974" cy="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EA0B4097-B645-43E0-A2B5-B8D688E745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484632"/>
            <a:ext cx="3584224" cy="58809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8691927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210312" y="643467"/>
            <a:ext cx="4105656"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Matching funds process </a:t>
            </a: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endParaRPr>
          </a:p>
        </p:txBody>
      </p:sp>
      <p:sp>
        <p:nvSpPr>
          <p:cNvPr id="4" name="TextBox 3">
            <a:extLst>
              <a:ext uri="{FF2B5EF4-FFF2-40B4-BE49-F238E27FC236}">
                <a16:creationId xmlns:a16="http://schemas.microsoft.com/office/drawing/2014/main" id="{F5B4FF78-B142-84EA-0463-0190E96E2742}"/>
              </a:ext>
            </a:extLst>
          </p:cNvPr>
          <p:cNvSpPr txBox="1"/>
          <p:nvPr/>
        </p:nvSpPr>
        <p:spPr>
          <a:xfrm>
            <a:off x="4812855" y="130629"/>
            <a:ext cx="7379145" cy="692497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Eligible applicants</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State agenc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Independent governmental state or public entities (</a:t>
            </a:r>
            <a:r>
              <a:rPr kumimoji="0" lang="en-US" sz="2000" b="0" i="0" u="none" strike="noStrike" kern="1200" cap="none" spc="0" normalizeH="0" baseline="0" noProof="0" err="1">
                <a:ln>
                  <a:noFill/>
                </a:ln>
                <a:solidFill>
                  <a:prstClr val="black"/>
                </a:solidFill>
                <a:effectLst/>
                <a:uLnTx/>
                <a:uFillTx/>
                <a:latin typeface="Tw Cen MT" panose="020B0602020104020603"/>
                <a:ea typeface="+mn-ea"/>
                <a:cs typeface="+mn-cs"/>
              </a:rPr>
              <a:t>quasis</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Municipalities (cities and town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Trib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Regional planning agencies (RPA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Community development corporations (CDC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Other development authorities or agenc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a:ln>
                  <a:noFill/>
                </a:ln>
                <a:solidFill>
                  <a:prstClr val="black"/>
                </a:solidFill>
                <a:effectLst/>
                <a:uLnTx/>
                <a:uFillTx/>
                <a:latin typeface="Tw Cen MT" panose="020B0602020104020603"/>
                <a:ea typeface="+mn-ea"/>
                <a:cs typeface="+mn-cs"/>
              </a:rPr>
              <a:t>Private entities (under review)</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Application process</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Fill out Federal Matching Funds Form</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Email supporting materials to </a:t>
            </a:r>
            <a:r>
              <a:rPr kumimoji="0" lang="en-US" sz="2000" b="0" i="0" u="sng" strike="noStrike" kern="1200" cap="none" spc="0" normalizeH="0" baseline="0" noProof="0">
                <a:ln>
                  <a:noFill/>
                </a:ln>
                <a:solidFill>
                  <a:srgbClr val="467886"/>
                </a:solidFill>
                <a:effectLst/>
                <a:uLnTx/>
                <a:uFillTx/>
                <a:latin typeface="Times New Roman" panose="02020603050405020304" pitchFamily="18" charset="0"/>
                <a:ea typeface="Times New Roman" panose="02020603050405020304" pitchFamily="18" charset="0"/>
                <a:cs typeface="Arial" panose="020B0604020202020204" pitchFamily="34" charset="0"/>
                <a:hlinkClick r:id="rId3"/>
              </a:rPr>
              <a:t>fedfundsinfra@mass.gov</a:t>
            </a:r>
            <a:endParaRPr kumimoji="0" lang="en-US" sz="2000" b="0" i="0" u="sng" strike="noStrike" kern="1200" cap="none" spc="0" normalizeH="0" baseline="0" noProof="0">
              <a:ln>
                <a:noFill/>
              </a:ln>
              <a:solidFill>
                <a:prstClr val="black"/>
              </a:solidFill>
              <a:effectLst/>
              <a:uLnTx/>
              <a:uFillTx/>
              <a:latin typeface="Tw Cen MT" panose="020B0602020104020603"/>
              <a:ea typeface="Times New Roman" panose="02020603050405020304" pitchFamily="18" charset="0"/>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Questions on form or materials: reach out to Bob and Sam</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If your agency works with </a:t>
            </a:r>
            <a:r>
              <a:rPr kumimoji="0" lang="en-US" sz="2000" b="0" i="0" u="none" strike="noStrike" kern="1200" cap="none" spc="0" normalizeH="0" baseline="0" noProof="0" err="1">
                <a:ln>
                  <a:noFill/>
                </a:ln>
                <a:solidFill>
                  <a:prstClr val="black"/>
                </a:solidFill>
                <a:effectLst/>
                <a:uLnTx/>
                <a:uFillTx/>
                <a:latin typeface="Tw Cen MT" panose="020B0602020104020603"/>
                <a:ea typeface="+mn-ea"/>
                <a:cs typeface="Arial" panose="020B0604020202020204" pitchFamily="34" charset="0"/>
              </a:rPr>
              <a:t>munis</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 on a federal program, </a:t>
            </a:r>
            <a:r>
              <a:rPr kumimoji="0" lang="en-US" sz="2000" b="1"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have the </a:t>
            </a:r>
            <a:r>
              <a:rPr kumimoji="0" lang="en-US" sz="2000" b="1" i="0" u="none" strike="noStrike" kern="1200" cap="none" spc="0" normalizeH="0" baseline="0" noProof="0" err="1">
                <a:ln>
                  <a:noFill/>
                </a:ln>
                <a:solidFill>
                  <a:prstClr val="black"/>
                </a:solidFill>
                <a:effectLst/>
                <a:uLnTx/>
                <a:uFillTx/>
                <a:latin typeface="Tw Cen MT" panose="020B0602020104020603"/>
                <a:ea typeface="+mn-ea"/>
                <a:cs typeface="Arial" panose="020B0604020202020204" pitchFamily="34" charset="0"/>
              </a:rPr>
              <a:t>muni</a:t>
            </a:r>
            <a:r>
              <a:rPr kumimoji="0" lang="en-US" sz="2000" b="1"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 who would be award recipient apply for match</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endPar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Timeline</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Three (3) weeks prior to federal application submiss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FFIO and ANF review on a rolling basis (for now)</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Still reviewing how to process retroactive requests</a:t>
            </a:r>
            <a:endPar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3789907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36A2CF7-02B6-FED9-2E11-F3102F9A60C1}"/>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AA91CC64-0146-6EC5-3B22-A8930198BB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3080A61C-DAD4-CA8E-934D-8CD4FBD269B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801A078B-8557-4785-0B4A-8ADB89CA5CF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DCEB7859-7ED9-1B0B-973D-2224270706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232BDDBE-F9CD-F864-73E8-FB7440A583F6}"/>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FFIO Grant programs overview</a:t>
            </a:r>
          </a:p>
        </p:txBody>
      </p:sp>
      <p:sp>
        <p:nvSpPr>
          <p:cNvPr id="32" name="Rectangle 31">
            <a:extLst>
              <a:ext uri="{FF2B5EF4-FFF2-40B4-BE49-F238E27FC236}">
                <a16:creationId xmlns:a16="http://schemas.microsoft.com/office/drawing/2014/main" id="{849CA126-3997-78A5-C561-4FA21AABE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6964152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D18699A-E22C-6112-F16E-60E93E507924}"/>
            </a:ext>
          </a:extLst>
        </p:cNvPr>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FD02A8C0-7BD1-0E1B-63B1-76D92D18C18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503974F5-A7D4-A9CD-71BA-8546DC7AFB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86161790-5F2B-25E2-4D7A-61A6AF08FCAA}"/>
              </a:ext>
            </a:extLst>
          </p:cNvPr>
          <p:cNvSpPr txBox="1">
            <a:spLocks/>
          </p:cNvSpPr>
          <p:nvPr/>
        </p:nvSpPr>
        <p:spPr>
          <a:xfrm>
            <a:off x="210312" y="643467"/>
            <a:ext cx="4105656"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Municipal and Tribal Technical Assistance Program</a:t>
            </a:r>
          </a:p>
        </p:txBody>
      </p:sp>
      <p:sp>
        <p:nvSpPr>
          <p:cNvPr id="2" name="Text Placeholder 1">
            <a:extLst>
              <a:ext uri="{FF2B5EF4-FFF2-40B4-BE49-F238E27FC236}">
                <a16:creationId xmlns:a16="http://schemas.microsoft.com/office/drawing/2014/main" id="{CAFCB4B3-25B8-F50F-0E09-BA49D170000C}"/>
              </a:ext>
            </a:extLst>
          </p:cNvPr>
          <p:cNvSpPr txBox="1">
            <a:spLocks/>
          </p:cNvSpPr>
          <p:nvPr/>
        </p:nvSpPr>
        <p:spPr>
          <a:xfrm>
            <a:off x="4752163" y="406804"/>
            <a:ext cx="7229525" cy="4566166"/>
          </a:xfrm>
          <a:prstGeom prst="rect">
            <a:avLst/>
          </a:prstGeom>
        </p:spPr>
        <p:txBody>
          <a:bodyPr vert="horz" lIns="91440" tIns="45720" rIns="91440" bIns="45720" rtlCol="0" anchor="t">
            <a:noAutofit/>
          </a:bodyPr>
          <a:lstStyle>
            <a:defPPr>
              <a:defRPr lang="en-US"/>
            </a:defPPr>
            <a:lvl1pPr marL="0" algn="l" defTabSz="914400" rtl="0" eaLnBrk="1" latinLnBrk="0" hangingPunct="1">
              <a:defRPr sz="1000" kern="1200">
                <a:solidFill>
                  <a:schemeClr val="tx1">
                    <a:lumMod val="95000"/>
                    <a:lumOff val="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457200">
              <a:lnSpc>
                <a:spcPct val="120000"/>
              </a:lnSpc>
              <a:spcBef>
                <a:spcPts val="200"/>
              </a:spcBef>
              <a:spcAft>
                <a:spcPts val="400"/>
              </a:spcAft>
              <a:buClr>
                <a:srgbClr val="1CADE4"/>
              </a:buClr>
              <a:defRPr/>
            </a:pPr>
            <a:r>
              <a:rPr lang="en-US" sz="2000" b="1" i="1">
                <a:cs typeface="Calibri"/>
              </a:rPr>
              <a:t>Grant type: </a:t>
            </a:r>
            <a:r>
              <a:rPr lang="en-US" sz="2000">
                <a:cs typeface="Calibri"/>
              </a:rPr>
              <a:t>Competitive, direct funding for selected municipalities </a:t>
            </a:r>
          </a:p>
          <a:p>
            <a:pPr lvl="1" indent="-457200">
              <a:lnSpc>
                <a:spcPct val="120000"/>
              </a:lnSpc>
              <a:spcBef>
                <a:spcPts val="200"/>
              </a:spcBef>
              <a:spcAft>
                <a:spcPts val="400"/>
              </a:spcAft>
              <a:buClr>
                <a:srgbClr val="1CADE4"/>
              </a:buClr>
              <a:defRPr/>
            </a:pPr>
            <a:r>
              <a:rPr lang="en-US" sz="2000" b="1" i="1">
                <a:cs typeface="Calibri"/>
              </a:rPr>
              <a:t>Funding Cap: </a:t>
            </a:r>
            <a:r>
              <a:rPr lang="en-US" sz="2000">
                <a:cs typeface="Calibri"/>
              </a:rPr>
              <a:t>None; decisions made on a rolling, first-come-first-serve basis (up until a fixed amount per year) </a:t>
            </a:r>
          </a:p>
          <a:p>
            <a:pPr lvl="1" indent="-457200">
              <a:lnSpc>
                <a:spcPct val="120000"/>
              </a:lnSpc>
              <a:spcBef>
                <a:spcPts val="200"/>
              </a:spcBef>
              <a:spcAft>
                <a:spcPts val="400"/>
              </a:spcAft>
              <a:buClr>
                <a:srgbClr val="1CADE4"/>
              </a:buClr>
              <a:defRPr/>
            </a:pPr>
            <a:r>
              <a:rPr lang="en-US" sz="2000" b="1" i="1">
                <a:cs typeface="Calibri"/>
              </a:rPr>
              <a:t>Covered Services </a:t>
            </a:r>
            <a:r>
              <a:rPr lang="en-US" sz="2000">
                <a:cs typeface="Calibri"/>
              </a:rPr>
              <a:t>(related to pursuing federal opportunities): Including but not limited to: </a:t>
            </a:r>
          </a:p>
          <a:p>
            <a:pPr lvl="3" indent="-457200">
              <a:lnSpc>
                <a:spcPct val="120000"/>
              </a:lnSpc>
              <a:spcBef>
                <a:spcPts val="200"/>
              </a:spcBef>
              <a:spcAft>
                <a:spcPts val="400"/>
              </a:spcAft>
              <a:buClr>
                <a:srgbClr val="1CADE4"/>
              </a:buClr>
              <a:defRPr/>
            </a:pPr>
            <a:r>
              <a:rPr lang="en-US" sz="2000">
                <a:cs typeface="Calibri"/>
              </a:rPr>
              <a:t>Tax assistance (e.g. for Direct Pay) and legal assistance</a:t>
            </a:r>
          </a:p>
          <a:p>
            <a:pPr lvl="3" indent="-457200">
              <a:lnSpc>
                <a:spcPct val="120000"/>
              </a:lnSpc>
              <a:spcBef>
                <a:spcPts val="200"/>
              </a:spcBef>
              <a:spcAft>
                <a:spcPts val="400"/>
              </a:spcAft>
              <a:buClr>
                <a:srgbClr val="1CADE4"/>
              </a:buClr>
              <a:defRPr/>
            </a:pPr>
            <a:r>
              <a:rPr lang="en-US" sz="2000">
                <a:cs typeface="Calibri"/>
              </a:rPr>
              <a:t>Grant-writing, project scoping and financial analysis</a:t>
            </a:r>
          </a:p>
          <a:p>
            <a:pPr lvl="3" indent="-457200">
              <a:lnSpc>
                <a:spcPct val="120000"/>
              </a:lnSpc>
              <a:spcBef>
                <a:spcPts val="200"/>
              </a:spcBef>
              <a:spcAft>
                <a:spcPts val="400"/>
              </a:spcAft>
              <a:buClr>
                <a:srgbClr val="1CADE4"/>
              </a:buClr>
              <a:defRPr/>
            </a:pPr>
            <a:r>
              <a:rPr lang="en-US" sz="2000">
                <a:cs typeface="Calibri"/>
              </a:rPr>
              <a:t>Planning and feasibility studies, </a:t>
            </a:r>
          </a:p>
          <a:p>
            <a:pPr lvl="3" indent="-457200">
              <a:lnSpc>
                <a:spcPct val="120000"/>
              </a:lnSpc>
              <a:spcBef>
                <a:spcPts val="200"/>
              </a:spcBef>
              <a:spcAft>
                <a:spcPts val="400"/>
              </a:spcAft>
              <a:buClr>
                <a:srgbClr val="1CADE4"/>
              </a:buClr>
              <a:defRPr/>
            </a:pPr>
            <a:r>
              <a:rPr lang="en-US" sz="2000">
                <a:cs typeface="Calibri"/>
              </a:rPr>
              <a:t>Demonstration activities</a:t>
            </a:r>
          </a:p>
          <a:p>
            <a:pPr lvl="3" indent="-457200">
              <a:lnSpc>
                <a:spcPct val="120000"/>
              </a:lnSpc>
              <a:spcBef>
                <a:spcPts val="200"/>
              </a:spcBef>
              <a:spcAft>
                <a:spcPts val="400"/>
              </a:spcAft>
              <a:buClr>
                <a:srgbClr val="1CADE4"/>
              </a:buClr>
              <a:defRPr/>
            </a:pPr>
            <a:r>
              <a:rPr lang="en-US" sz="2000">
                <a:cs typeface="Calibri"/>
              </a:rPr>
              <a:t>Post-award grant management support. </a:t>
            </a:r>
          </a:p>
          <a:p>
            <a:pPr lvl="1" indent="-457200">
              <a:lnSpc>
                <a:spcPct val="120000"/>
              </a:lnSpc>
              <a:spcBef>
                <a:spcPts val="200"/>
              </a:spcBef>
              <a:spcAft>
                <a:spcPts val="400"/>
              </a:spcAft>
              <a:buClr>
                <a:srgbClr val="1CADE4"/>
              </a:buClr>
              <a:defRPr/>
            </a:pPr>
            <a:r>
              <a:rPr lang="en-US" sz="2000" b="1" i="1">
                <a:cs typeface="Calibri"/>
              </a:rPr>
              <a:t>Administration:  </a:t>
            </a:r>
            <a:r>
              <a:rPr lang="en-US" sz="2000">
                <a:cs typeface="Calibri"/>
              </a:rPr>
              <a:t>In coordination with ANF, FFIO will establish and oversee a process to receive requests for technical assistance services and select successful applicants </a:t>
            </a:r>
          </a:p>
          <a:p>
            <a:pPr lvl="1" indent="-457200">
              <a:lnSpc>
                <a:spcPct val="120000"/>
              </a:lnSpc>
              <a:spcBef>
                <a:spcPts val="200"/>
              </a:spcBef>
              <a:spcAft>
                <a:spcPts val="400"/>
              </a:spcAft>
              <a:buClr>
                <a:srgbClr val="1CADE4"/>
              </a:buClr>
              <a:defRPr/>
            </a:pPr>
            <a:r>
              <a:rPr lang="en-US" sz="2000" b="1" i="1">
                <a:cs typeface="Calibri"/>
              </a:rPr>
              <a:t>Funding amount: </a:t>
            </a:r>
            <a:r>
              <a:rPr lang="en-US" sz="2000" i="1">
                <a:cs typeface="Calibri"/>
              </a:rPr>
              <a:t>approximately</a:t>
            </a:r>
            <a:r>
              <a:rPr lang="en-US" sz="2000" b="1" i="1">
                <a:cs typeface="Calibri"/>
              </a:rPr>
              <a:t> </a:t>
            </a:r>
            <a:r>
              <a:rPr lang="en-US" sz="2000">
                <a:cs typeface="Calibri"/>
              </a:rPr>
              <a:t>$2,500,000 over 2 years</a:t>
            </a:r>
          </a:p>
          <a:p>
            <a:pPr marL="0" lvl="1">
              <a:lnSpc>
                <a:spcPct val="90000"/>
              </a:lnSpc>
              <a:spcBef>
                <a:spcPts val="200"/>
              </a:spcBef>
              <a:spcAft>
                <a:spcPts val="400"/>
              </a:spcAft>
              <a:defRPr/>
            </a:pPr>
            <a:endParaRPr lang="en-US" sz="2000">
              <a:cs typeface="Calibri"/>
            </a:endParaRPr>
          </a:p>
        </p:txBody>
      </p:sp>
    </p:spTree>
    <p:extLst>
      <p:ext uri="{BB962C8B-B14F-4D97-AF65-F5344CB8AC3E}">
        <p14:creationId xmlns:p14="http://schemas.microsoft.com/office/powerpoint/2010/main" val="22211980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A426B1B3-0864-EF2E-19B0-8E59F16E8B54}"/>
            </a:ext>
          </a:extLst>
        </p:cNvPr>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6C631769-425E-AD46-8376-87BB226ECD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6A24D992-43C4-1FAD-10FD-250BEFC85C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5DD3A7CD-6777-3867-1C04-5B3CC604152B}"/>
              </a:ext>
            </a:extLst>
          </p:cNvPr>
          <p:cNvSpPr txBox="1">
            <a:spLocks/>
          </p:cNvSpPr>
          <p:nvPr/>
        </p:nvSpPr>
        <p:spPr>
          <a:xfrm>
            <a:off x="161378" y="780102"/>
            <a:ext cx="4541851"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Technical Assistance Grants for Regional Planning Agencies </a:t>
            </a: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endParaRPr>
          </a:p>
        </p:txBody>
      </p:sp>
      <p:sp>
        <p:nvSpPr>
          <p:cNvPr id="3" name="Text Placeholder 1">
            <a:extLst>
              <a:ext uri="{FF2B5EF4-FFF2-40B4-BE49-F238E27FC236}">
                <a16:creationId xmlns:a16="http://schemas.microsoft.com/office/drawing/2014/main" id="{A5E5C064-2865-4808-B380-A7AB7D2A2B44}"/>
              </a:ext>
            </a:extLst>
          </p:cNvPr>
          <p:cNvSpPr txBox="1">
            <a:spLocks/>
          </p:cNvSpPr>
          <p:nvPr/>
        </p:nvSpPr>
        <p:spPr>
          <a:xfrm>
            <a:off x="4934681" y="373677"/>
            <a:ext cx="6976933" cy="4739786"/>
          </a:xfrm>
          <a:prstGeom prst="rect">
            <a:avLst/>
          </a:prstGeom>
        </p:spPr>
        <p:txBody>
          <a:bodyPr vert="horz" lIns="91440" tIns="45720" rIns="91440" bIns="45720" rtlCol="0" anchor="t">
            <a:noAutofit/>
          </a:bodyPr>
          <a:lstStyle>
            <a:defPPr>
              <a:defRPr lang="en-US"/>
            </a:defPPr>
            <a:lvl1pPr marL="0" algn="l" defTabSz="914400" rtl="0" eaLnBrk="1" latinLnBrk="0" hangingPunct="1">
              <a:defRPr sz="1000" kern="1200">
                <a:solidFill>
                  <a:schemeClr val="tx1">
                    <a:lumMod val="95000"/>
                    <a:lumOff val="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457200">
              <a:spcBef>
                <a:spcPts val="200"/>
              </a:spcBef>
              <a:spcAft>
                <a:spcPts val="400"/>
              </a:spcAft>
              <a:buClr>
                <a:srgbClr val="1CADE4"/>
              </a:buClr>
              <a:defRPr/>
            </a:pPr>
            <a:r>
              <a:rPr lang="en-US" sz="2000" b="1" i="1"/>
              <a:t>Grant type: </a:t>
            </a:r>
            <a:r>
              <a:rPr lang="en-US" sz="2000"/>
              <a:t>Formula-based, direct funding for all 13 RPAs with grant conditions. </a:t>
            </a:r>
          </a:p>
          <a:p>
            <a:pPr lvl="1" indent="-457200">
              <a:spcBef>
                <a:spcPts val="200"/>
              </a:spcBef>
              <a:spcAft>
                <a:spcPts val="400"/>
              </a:spcAft>
              <a:buClr>
                <a:srgbClr val="1CADE4"/>
              </a:buClr>
              <a:defRPr/>
            </a:pPr>
            <a:r>
              <a:rPr lang="en-US" sz="2000" b="1" i="1"/>
              <a:t>Eligibility: </a:t>
            </a:r>
            <a:r>
              <a:rPr lang="en-US" sz="2000"/>
              <a:t>All Massachusetts RPAs. </a:t>
            </a:r>
          </a:p>
          <a:p>
            <a:pPr lvl="1" indent="-457200">
              <a:spcBef>
                <a:spcPts val="200"/>
              </a:spcBef>
              <a:spcAft>
                <a:spcPts val="400"/>
              </a:spcAft>
              <a:buClr>
                <a:srgbClr val="1CADE4"/>
              </a:buClr>
              <a:defRPr/>
            </a:pPr>
            <a:r>
              <a:rPr lang="en-US" sz="2000" b="1" i="1"/>
              <a:t>Covered Scope of Work (related to pursuing federal opportunities):  </a:t>
            </a:r>
            <a:r>
              <a:rPr lang="en-US" sz="2000"/>
              <a:t>Including but not limited to: hiring in-house capacity to provide technical assistance, grant application support, project development and implementation support such as project scoping and financial analysis, planning and feasibility studies, cost-benefit analysis.   </a:t>
            </a:r>
          </a:p>
          <a:p>
            <a:pPr lvl="1" indent="-457200">
              <a:spcBef>
                <a:spcPts val="200"/>
              </a:spcBef>
              <a:spcAft>
                <a:spcPts val="400"/>
              </a:spcAft>
              <a:buClr>
                <a:srgbClr val="1CADE4"/>
              </a:buClr>
              <a:defRPr/>
            </a:pPr>
            <a:r>
              <a:rPr lang="en-US" sz="2000" b="1" i="1"/>
              <a:t>Administration:</a:t>
            </a:r>
            <a:r>
              <a:rPr lang="en-US" sz="2000" b="1"/>
              <a:t> </a:t>
            </a:r>
            <a:r>
              <a:rPr lang="en-US" sz="2000"/>
              <a:t>In coordination with ANF and DLS, FFIO will establish and oversee a process to allocate grant funding to RPAs on </a:t>
            </a:r>
            <a:r>
              <a:rPr lang="en-US" sz="2000" i="1"/>
              <a:t>an opt-in basis</a:t>
            </a:r>
            <a:r>
              <a:rPr lang="en-US" sz="2000"/>
              <a:t>. Funding would be tied to specific conditions and reporting requirements:  </a:t>
            </a:r>
          </a:p>
          <a:p>
            <a:pPr lvl="2" fontAlgn="base"/>
            <a:r>
              <a:rPr lang="en-US" sz="2000"/>
              <a:t>(1) Projects pursuing federal funds;  </a:t>
            </a:r>
          </a:p>
          <a:p>
            <a:pPr lvl="2" fontAlgn="base"/>
            <a:r>
              <a:rPr lang="en-US" sz="2000"/>
              <a:t>(2) Regular updates to FFIO, and coordination with FFIO as needed;  </a:t>
            </a:r>
          </a:p>
          <a:p>
            <a:pPr lvl="2" fontAlgn="base"/>
            <a:r>
              <a:rPr lang="en-US" sz="2000"/>
              <a:t>(3) Annual spending reports </a:t>
            </a:r>
          </a:p>
          <a:p>
            <a:pPr lvl="1" indent="-457200">
              <a:spcBef>
                <a:spcPts val="200"/>
              </a:spcBef>
              <a:spcAft>
                <a:spcPts val="400"/>
              </a:spcAft>
              <a:buClr>
                <a:srgbClr val="1CADE4"/>
              </a:buClr>
              <a:defRPr/>
            </a:pPr>
            <a:r>
              <a:rPr lang="en-US" sz="2000" b="1" i="1"/>
              <a:t>Funding amount:</a:t>
            </a:r>
            <a:r>
              <a:rPr lang="en-US" sz="2000" b="1"/>
              <a:t> </a:t>
            </a:r>
            <a:r>
              <a:rPr lang="en-US" sz="2000"/>
              <a:t>$2,000,000 over 2 years</a:t>
            </a:r>
          </a:p>
          <a:p>
            <a:pPr lvl="1" indent="-457200">
              <a:spcBef>
                <a:spcPts val="200"/>
              </a:spcBef>
              <a:spcAft>
                <a:spcPts val="400"/>
              </a:spcAft>
              <a:buClr>
                <a:srgbClr val="1CADE4"/>
              </a:buClr>
              <a:defRPr/>
            </a:pPr>
            <a:endParaRPr lang="en-US" sz="2000">
              <a:cs typeface="Calibri"/>
            </a:endParaRPr>
          </a:p>
        </p:txBody>
      </p:sp>
    </p:spTree>
    <p:extLst>
      <p:ext uri="{BB962C8B-B14F-4D97-AF65-F5344CB8AC3E}">
        <p14:creationId xmlns:p14="http://schemas.microsoft.com/office/powerpoint/2010/main" val="7232262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3FB9D8-C270-8E54-AF6D-91C9D72B6BAC}"/>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0B700F24-34D2-079D-BBF5-0EAA743F0EC6}"/>
              </a:ext>
            </a:extLst>
          </p:cNvPr>
          <p:cNvSpPr txBox="1">
            <a:spLocks/>
          </p:cNvSpPr>
          <p:nvPr/>
        </p:nvSpPr>
        <p:spPr>
          <a:xfrm>
            <a:off x="900710" y="543182"/>
            <a:ext cx="8018272" cy="149961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600"/>
              </a:spcAft>
              <a:buClrTx/>
              <a:buSzTx/>
              <a:buFontTx/>
              <a:buNone/>
              <a:tabLst/>
              <a:defRPr/>
            </a:pPr>
            <a:r>
              <a:rPr lang="en-US" sz="4000" cap="none">
                <a:solidFill>
                  <a:schemeClr val="tx1"/>
                </a:solidFill>
                <a:latin typeface="+mn-lt"/>
              </a:rPr>
              <a:t>Learn about the technical assistance programs here:</a:t>
            </a:r>
            <a:endParaRPr kumimoji="0" lang="en-US" sz="4000" b="0" i="0" u="none" strike="noStrike" kern="1200" cap="none" spc="100" normalizeH="0" baseline="0" noProof="0">
              <a:ln>
                <a:noFill/>
              </a:ln>
              <a:solidFill>
                <a:schemeClr val="tx1"/>
              </a:solidFill>
              <a:effectLst/>
              <a:uLnTx/>
              <a:uFillTx/>
              <a:latin typeface="+mn-lt"/>
              <a:ea typeface="+mj-ea"/>
              <a:cs typeface="+mj-cs"/>
            </a:endParaRPr>
          </a:p>
        </p:txBody>
      </p:sp>
      <p:sp>
        <p:nvSpPr>
          <p:cNvPr id="7" name="Content Placeholder 2">
            <a:extLst>
              <a:ext uri="{FF2B5EF4-FFF2-40B4-BE49-F238E27FC236}">
                <a16:creationId xmlns:a16="http://schemas.microsoft.com/office/drawing/2014/main" id="{D9AD9EE0-A0E9-4B30-C2C3-ED30A676B259}"/>
              </a:ext>
            </a:extLst>
          </p:cNvPr>
          <p:cNvSpPr txBox="1">
            <a:spLocks/>
          </p:cNvSpPr>
          <p:nvPr/>
        </p:nvSpPr>
        <p:spPr>
          <a:xfrm>
            <a:off x="650222" y="2506662"/>
            <a:ext cx="5025364" cy="4351338"/>
          </a:xfrm>
          <a:prstGeom prst="rect">
            <a:avLst/>
          </a:prstGeom>
        </p:spPr>
        <p:txBody>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171450" indent="-171450">
              <a:buFont typeface="Arial" panose="020B0604020202020204" pitchFamily="34" charset="0"/>
              <a:buChar char="•"/>
            </a:pPr>
            <a:r>
              <a:rPr lang="en-US" sz="2800">
                <a:solidFill>
                  <a:srgbClr val="0070C0"/>
                </a:solidFill>
                <a:hlinkClick r:id="rId3">
                  <a:extLst>
                    <a:ext uri="{A12FA001-AC4F-418D-AE19-62706E023703}">
                      <ahyp:hlinkClr xmlns:ahyp="http://schemas.microsoft.com/office/drawing/2018/hyperlinkcolor" val="tx"/>
                    </a:ext>
                  </a:extLst>
                </a:hlinkClick>
              </a:rPr>
              <a:t>mass.gov/MTTA</a:t>
            </a:r>
            <a:endParaRPr lang="en-US" sz="2800">
              <a:solidFill>
                <a:srgbClr val="0070C0"/>
              </a:solidFill>
            </a:endParaRPr>
          </a:p>
          <a:p>
            <a:pPr marL="171450" indent="-171450">
              <a:buFont typeface="Arial" panose="020B0604020202020204" pitchFamily="34" charset="0"/>
              <a:buChar char="•"/>
            </a:pPr>
            <a:r>
              <a:rPr lang="en-US" sz="2800">
                <a:solidFill>
                  <a:srgbClr val="0070C0"/>
                </a:solidFill>
                <a:hlinkClick r:id="rId4">
                  <a:extLst>
                    <a:ext uri="{A12FA001-AC4F-418D-AE19-62706E023703}">
                      <ahyp:hlinkClr xmlns:ahyp="http://schemas.microsoft.com/office/drawing/2018/hyperlinkcolor" val="tx"/>
                    </a:ext>
                  </a:extLst>
                </a:hlinkClick>
              </a:rPr>
              <a:t>mass.gov/TARPA</a:t>
            </a:r>
            <a:endParaRPr lang="en-US" sz="2800">
              <a:solidFill>
                <a:srgbClr val="0070C0"/>
              </a:solidFill>
            </a:endParaRPr>
          </a:p>
          <a:p>
            <a:pPr marL="171450" indent="-171450">
              <a:buFont typeface="Arial" panose="020B0604020202020204" pitchFamily="34" charset="0"/>
              <a:buChar char="•"/>
            </a:pPr>
            <a:r>
              <a:rPr lang="en-US" sz="2800">
                <a:solidFill>
                  <a:srgbClr val="0070C0"/>
                </a:solidFill>
                <a:hlinkClick r:id="rId5">
                  <a:extLst>
                    <a:ext uri="{A12FA001-AC4F-418D-AE19-62706E023703}">
                      <ahyp:hlinkClr xmlns:ahyp="http://schemas.microsoft.com/office/drawing/2018/hyperlinkcolor" val="tx"/>
                    </a:ext>
                  </a:extLst>
                </a:hlinkClick>
              </a:rPr>
              <a:t>mass.gov/FFIO-TA</a:t>
            </a:r>
            <a:endParaRPr lang="en-US" sz="2800">
              <a:solidFill>
                <a:srgbClr val="0070C0"/>
              </a:solidFill>
            </a:endParaRPr>
          </a:p>
          <a:p>
            <a:pPr marL="171450" indent="-171450"/>
            <a:endParaRPr lang="en-US"/>
          </a:p>
        </p:txBody>
      </p:sp>
      <p:pic>
        <p:nvPicPr>
          <p:cNvPr id="12" name="Picture 11" descr="Text&#10;&#10;AI-generated content may be incorrect.">
            <a:extLst>
              <a:ext uri="{FF2B5EF4-FFF2-40B4-BE49-F238E27FC236}">
                <a16:creationId xmlns:a16="http://schemas.microsoft.com/office/drawing/2014/main" id="{B164F636-6ED0-A859-8B78-F8FA7A8B577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30271" y="1844511"/>
            <a:ext cx="8138981" cy="4820781"/>
          </a:xfrm>
          <a:prstGeom prst="rect">
            <a:avLst/>
          </a:prstGeom>
        </p:spPr>
      </p:pic>
    </p:spTree>
    <p:extLst>
      <p:ext uri="{BB962C8B-B14F-4D97-AF65-F5344CB8AC3E}">
        <p14:creationId xmlns:p14="http://schemas.microsoft.com/office/powerpoint/2010/main" val="7102504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194971-2F2D-44B0-8AE6-FF2DCCEE0A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1FF9A61E-EB11-4C46-82E1-3E00A3B4B4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5E564EB3-35F2-4EFF-87DC-642DC020526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6A5AB136-1321-47B3-8AF9-A8140222B1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CCEFB9A7-C8DD-7F1A-F23E-02E2D28F5C0B}"/>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New Federal Funding Opportunities</a:t>
            </a:r>
          </a:p>
        </p:txBody>
      </p:sp>
      <p:sp>
        <p:nvSpPr>
          <p:cNvPr id="32" name="Rectangle 31">
            <a:extLst>
              <a:ext uri="{FF2B5EF4-FFF2-40B4-BE49-F238E27FC236}">
                <a16:creationId xmlns:a16="http://schemas.microsoft.com/office/drawing/2014/main" id="{3A29AB2E-91A6-4F11-8765-A410A0139E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23402989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9B00F9-BAAB-C8DE-E968-A29D8586C504}"/>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8E7F279F-4B22-AE75-6585-699D8D9B4F39}"/>
              </a:ext>
            </a:extLst>
          </p:cNvPr>
          <p:cNvSpPr txBox="1">
            <a:spLocks/>
          </p:cNvSpPr>
          <p:nvPr/>
        </p:nvSpPr>
        <p:spPr>
          <a:xfrm>
            <a:off x="890453" y="794636"/>
            <a:ext cx="10055503" cy="1002453"/>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400" b="0" i="0" u="none" strike="noStrike" kern="1200" cap="all" spc="100" normalizeH="0" baseline="0" noProof="0">
                <a:ln>
                  <a:noFill/>
                </a:ln>
                <a:solidFill>
                  <a:prstClr val="black"/>
                </a:solidFill>
                <a:effectLst/>
                <a:uLnTx/>
                <a:uFillTx/>
                <a:latin typeface="Tw Cen MT Condensed" panose="020B0606020104020203"/>
                <a:ea typeface="+mj-ea"/>
                <a:cs typeface="+mj-cs"/>
              </a:rPr>
              <a:t>New grants</a:t>
            </a:r>
          </a:p>
        </p:txBody>
      </p:sp>
      <p:graphicFrame>
        <p:nvGraphicFramePr>
          <p:cNvPr id="6" name="Content Placeholder 5">
            <a:extLst>
              <a:ext uri="{FF2B5EF4-FFF2-40B4-BE49-F238E27FC236}">
                <a16:creationId xmlns:a16="http://schemas.microsoft.com/office/drawing/2014/main" id="{4C906486-E95B-F55A-6695-30C3148FF2F2}"/>
              </a:ext>
            </a:extLst>
          </p:cNvPr>
          <p:cNvGraphicFramePr>
            <a:graphicFrameLocks noGrp="1"/>
          </p:cNvGraphicFramePr>
          <p:nvPr>
            <p:ph idx="1"/>
            <p:extLst>
              <p:ext uri="{D42A27DB-BD31-4B8C-83A1-F6EECF244321}">
                <p14:modId xmlns:p14="http://schemas.microsoft.com/office/powerpoint/2010/main" val="1790796029"/>
              </p:ext>
            </p:extLst>
          </p:nvPr>
        </p:nvGraphicFramePr>
        <p:xfrm>
          <a:off x="338153" y="1767763"/>
          <a:ext cx="11160102" cy="4219705"/>
        </p:xfrm>
        <a:graphic>
          <a:graphicData uri="http://schemas.openxmlformats.org/drawingml/2006/table">
            <a:tbl>
              <a:tblPr firstRow="1" bandRow="1">
                <a:tableStyleId>{5C22544A-7EE6-4342-B048-85BDC9FD1C3A}</a:tableStyleId>
              </a:tblPr>
              <a:tblGrid>
                <a:gridCol w="3185245">
                  <a:extLst>
                    <a:ext uri="{9D8B030D-6E8A-4147-A177-3AD203B41FA5}">
                      <a16:colId xmlns:a16="http://schemas.microsoft.com/office/drawing/2014/main" val="1434439961"/>
                    </a:ext>
                  </a:extLst>
                </a:gridCol>
                <a:gridCol w="2561762">
                  <a:extLst>
                    <a:ext uri="{9D8B030D-6E8A-4147-A177-3AD203B41FA5}">
                      <a16:colId xmlns:a16="http://schemas.microsoft.com/office/drawing/2014/main" val="2422528130"/>
                    </a:ext>
                  </a:extLst>
                </a:gridCol>
                <a:gridCol w="1624083">
                  <a:extLst>
                    <a:ext uri="{9D8B030D-6E8A-4147-A177-3AD203B41FA5}">
                      <a16:colId xmlns:a16="http://schemas.microsoft.com/office/drawing/2014/main" val="649423846"/>
                    </a:ext>
                  </a:extLst>
                </a:gridCol>
                <a:gridCol w="2183642">
                  <a:extLst>
                    <a:ext uri="{9D8B030D-6E8A-4147-A177-3AD203B41FA5}">
                      <a16:colId xmlns:a16="http://schemas.microsoft.com/office/drawing/2014/main" val="215457357"/>
                    </a:ext>
                  </a:extLst>
                </a:gridCol>
                <a:gridCol w="1605370">
                  <a:extLst>
                    <a:ext uri="{9D8B030D-6E8A-4147-A177-3AD203B41FA5}">
                      <a16:colId xmlns:a16="http://schemas.microsoft.com/office/drawing/2014/main" val="2914649782"/>
                    </a:ext>
                  </a:extLst>
                </a:gridCol>
              </a:tblGrid>
              <a:tr h="379225">
                <a:tc>
                  <a:txBody>
                    <a:bodyPr/>
                    <a:lstStyle/>
                    <a:p>
                      <a:pPr algn="ctr"/>
                      <a:r>
                        <a:rPr lang="en-US"/>
                        <a:t>Grant Name</a:t>
                      </a:r>
                    </a:p>
                  </a:txBody>
                  <a:tcPr/>
                </a:tc>
                <a:tc>
                  <a:txBody>
                    <a:bodyPr/>
                    <a:lstStyle/>
                    <a:p>
                      <a:pPr algn="ctr"/>
                      <a:r>
                        <a:rPr lang="en-US"/>
                        <a:t>Eligibility</a:t>
                      </a:r>
                    </a:p>
                  </a:txBody>
                  <a:tcPr/>
                </a:tc>
                <a:tc>
                  <a:txBody>
                    <a:bodyPr/>
                    <a:lstStyle/>
                    <a:p>
                      <a:pPr algn="ctr"/>
                      <a:r>
                        <a:rPr lang="en-US"/>
                        <a:t>Max Award</a:t>
                      </a:r>
                    </a:p>
                  </a:txBody>
                  <a:tcPr/>
                </a:tc>
                <a:tc>
                  <a:txBody>
                    <a:bodyPr/>
                    <a:lstStyle/>
                    <a:p>
                      <a:pPr algn="ctr"/>
                      <a:r>
                        <a:rPr lang="en-US"/>
                        <a:t>Cost Share</a:t>
                      </a:r>
                    </a:p>
                  </a:txBody>
                  <a:tcPr/>
                </a:tc>
                <a:tc>
                  <a:txBody>
                    <a:bodyPr/>
                    <a:lstStyle/>
                    <a:p>
                      <a:pPr algn="ctr"/>
                      <a:r>
                        <a:rPr lang="en-US"/>
                        <a:t>Deadline</a:t>
                      </a:r>
                    </a:p>
                  </a:txBody>
                  <a:tcPr/>
                </a:tc>
                <a:extLst>
                  <a:ext uri="{0D108BD9-81ED-4DB2-BD59-A6C34878D82A}">
                    <a16:rowId xmlns:a16="http://schemas.microsoft.com/office/drawing/2014/main" val="1212762885"/>
                  </a:ext>
                </a:extLst>
              </a:tr>
              <a:tr h="0">
                <a:tc>
                  <a:txBody>
                    <a:bodyPr/>
                    <a:lstStyle/>
                    <a:p>
                      <a:pPr lvl="0" algn="ctr">
                        <a:lnSpc>
                          <a:spcPct val="100000"/>
                        </a:lnSpc>
                        <a:spcBef>
                          <a:spcPts val="0"/>
                        </a:spcBef>
                        <a:spcAft>
                          <a:spcPts val="0"/>
                        </a:spcAft>
                        <a:buNone/>
                      </a:pPr>
                      <a:r>
                        <a:rPr lang="en-US" sz="1800" b="1" i="0" u="sng" strike="noStrike" noProof="0">
                          <a:solidFill>
                            <a:schemeClr val="accent1"/>
                          </a:solidFill>
                          <a:latin typeface="Aptos"/>
                        </a:rPr>
                        <a:t>National Fish Passage Program</a:t>
                      </a:r>
                      <a:endParaRPr lang="en-US" sz="1800" b="1" u="sng">
                        <a:solidFill>
                          <a:schemeClr val="accent1"/>
                        </a:solidFill>
                        <a:latin typeface="Aptos"/>
                      </a:endParaRPr>
                    </a:p>
                  </a:txBody>
                  <a:tcPr anchor="ctr"/>
                </a:tc>
                <a:tc>
                  <a:txBody>
                    <a:bodyPr/>
                    <a:lstStyle/>
                    <a:p>
                      <a:pPr lvl="0" algn="ctr">
                        <a:lnSpc>
                          <a:spcPct val="100000"/>
                        </a:lnSpc>
                        <a:spcBef>
                          <a:spcPts val="0"/>
                        </a:spcBef>
                        <a:spcAft>
                          <a:spcPts val="0"/>
                        </a:spcAft>
                        <a:buNone/>
                      </a:pPr>
                      <a:r>
                        <a:rPr lang="en-US" sz="1800" b="0" i="0" u="none" strike="noStrike" noProof="0">
                          <a:solidFill>
                            <a:schemeClr val="tx1"/>
                          </a:solidFill>
                          <a:latin typeface="Aptos"/>
                        </a:rPr>
                        <a:t>State, Local Governments, Tribes, NGOs, + </a:t>
                      </a:r>
                      <a:endParaRPr lang="en-US" sz="1800" b="0">
                        <a:solidFill>
                          <a:schemeClr val="tx1"/>
                        </a:solidFill>
                        <a:latin typeface="Aptos"/>
                      </a:endParaRPr>
                    </a:p>
                  </a:txBody>
                  <a:tcPr/>
                </a:tc>
                <a:tc>
                  <a:txBody>
                    <a:bodyPr/>
                    <a:lstStyle/>
                    <a:p>
                      <a:pPr lvl="0" algn="ctr">
                        <a:lnSpc>
                          <a:spcPct val="100000"/>
                        </a:lnSpc>
                        <a:spcBef>
                          <a:spcPts val="0"/>
                        </a:spcBef>
                        <a:spcAft>
                          <a:spcPts val="0"/>
                        </a:spcAft>
                        <a:buNone/>
                      </a:pPr>
                      <a:r>
                        <a:rPr lang="en-US" sz="1800" b="0" i="0" u="none" strike="noStrike" noProof="0">
                          <a:solidFill>
                            <a:schemeClr val="tx1"/>
                          </a:solidFill>
                          <a:latin typeface="Aptos"/>
                        </a:rPr>
                        <a:t>$1,000,000</a:t>
                      </a:r>
                      <a:endParaRPr lang="en-US" sz="1800" b="0">
                        <a:solidFill>
                          <a:schemeClr val="tx1"/>
                        </a:solidFill>
                        <a:latin typeface="Aptos"/>
                      </a:endParaRPr>
                    </a:p>
                  </a:txBody>
                  <a:tcPr/>
                </a:tc>
                <a:tc>
                  <a:txBody>
                    <a:bodyPr/>
                    <a:lstStyle/>
                    <a:p>
                      <a:pPr lvl="0" algn="ctr">
                        <a:lnSpc>
                          <a:spcPct val="100000"/>
                        </a:lnSpc>
                        <a:spcBef>
                          <a:spcPts val="0"/>
                        </a:spcBef>
                        <a:spcAft>
                          <a:spcPts val="0"/>
                        </a:spcAft>
                        <a:buNone/>
                      </a:pPr>
                      <a:r>
                        <a:rPr lang="en-US" sz="1800" b="0" i="0" u="none" strike="noStrike" noProof="0">
                          <a:solidFill>
                            <a:schemeClr val="tx1"/>
                          </a:solidFill>
                          <a:latin typeface="Aptos"/>
                        </a:rPr>
                        <a:t>No</a:t>
                      </a:r>
                      <a:endParaRPr lang="en-US" sz="1800" b="0">
                        <a:solidFill>
                          <a:schemeClr val="tx1"/>
                        </a:solidFill>
                        <a:latin typeface="Aptos"/>
                      </a:endParaRPr>
                    </a:p>
                  </a:txBody>
                  <a:tcPr/>
                </a:tc>
                <a:tc>
                  <a:txBody>
                    <a:bodyPr/>
                    <a:lstStyle/>
                    <a:p>
                      <a:pPr marL="0" lvl="0" indent="0" algn="ctr">
                        <a:lnSpc>
                          <a:spcPct val="100000"/>
                        </a:lnSpc>
                        <a:buNone/>
                      </a:pPr>
                      <a:r>
                        <a:rPr lang="en-US" sz="1800" b="0" i="0" u="none" strike="noStrike" baseline="0" noProof="0">
                          <a:solidFill>
                            <a:schemeClr val="tx1"/>
                          </a:solidFill>
                          <a:latin typeface="Aptos"/>
                        </a:rPr>
                        <a:t>11/12/2025</a:t>
                      </a:r>
                    </a:p>
                  </a:txBody>
                  <a:tcPr/>
                </a:tc>
                <a:extLst>
                  <a:ext uri="{0D108BD9-81ED-4DB2-BD59-A6C34878D82A}">
                    <a16:rowId xmlns:a16="http://schemas.microsoft.com/office/drawing/2014/main" val="3265491713"/>
                  </a:ext>
                </a:extLst>
              </a:tr>
              <a:tr h="509825">
                <a:tc>
                  <a:txBody>
                    <a:bodyPr/>
                    <a:lstStyle/>
                    <a:p>
                      <a:pPr algn="ctr"/>
                      <a:r>
                        <a:rPr lang="en-US" sz="1800" b="1" u="sng" kern="1200">
                          <a:solidFill>
                            <a:schemeClr val="accent1"/>
                          </a:solidFill>
                          <a:effectLst/>
                          <a:latin typeface="Aptos"/>
                          <a:ea typeface="+mn-ea"/>
                          <a:cs typeface="+mn-cs"/>
                        </a:rPr>
                        <a:t>Farm to School Grant Program</a:t>
                      </a:r>
                    </a:p>
                  </a:txBody>
                  <a:tcPr anchor="ctr"/>
                </a:tc>
                <a:tc>
                  <a:txBody>
                    <a:bodyPr/>
                    <a:lstStyle/>
                    <a:p>
                      <a:pPr lvl="0" algn="ctr">
                        <a:lnSpc>
                          <a:spcPct val="100000"/>
                        </a:lnSpc>
                        <a:spcBef>
                          <a:spcPts val="0"/>
                        </a:spcBef>
                        <a:spcAft>
                          <a:spcPts val="0"/>
                        </a:spcAft>
                        <a:buNone/>
                      </a:pPr>
                      <a:r>
                        <a:rPr lang="en-US" sz="1800" b="0" i="0" u="none" strike="noStrike" noProof="0">
                          <a:solidFill>
                            <a:schemeClr val="tx1"/>
                          </a:solidFill>
                          <a:latin typeface="Aptos"/>
                        </a:rPr>
                        <a:t>State + Tribes. Partnerships of Local Governments, NGOs, agricultural producers, CNP operators</a:t>
                      </a:r>
                      <a:endParaRPr lang="en-US" sz="1800" b="0">
                        <a:solidFill>
                          <a:schemeClr val="tx1"/>
                        </a:solidFill>
                        <a:latin typeface="Aptos"/>
                      </a:endParaRPr>
                    </a:p>
                  </a:txBody>
                  <a:tcPr/>
                </a:tc>
                <a:tc>
                  <a:txBody>
                    <a:bodyPr/>
                    <a:lstStyle/>
                    <a:p>
                      <a:pPr lvl="0" algn="ctr">
                        <a:lnSpc>
                          <a:spcPct val="100000"/>
                        </a:lnSpc>
                        <a:spcBef>
                          <a:spcPts val="0"/>
                        </a:spcBef>
                        <a:spcAft>
                          <a:spcPts val="0"/>
                        </a:spcAft>
                        <a:buNone/>
                      </a:pPr>
                      <a:r>
                        <a:rPr lang="en-US" sz="1800" b="0" i="0" u="none" strike="noStrike" noProof="0">
                          <a:solidFill>
                            <a:schemeClr val="tx1"/>
                          </a:solidFill>
                          <a:latin typeface="Aptos"/>
                        </a:rPr>
                        <a:t>$500,000</a:t>
                      </a:r>
                      <a:endParaRPr lang="en-US" sz="1800" b="0">
                        <a:solidFill>
                          <a:schemeClr val="tx1"/>
                        </a:solidFill>
                        <a:latin typeface="Aptos"/>
                      </a:endParaRPr>
                    </a:p>
                  </a:txBody>
                  <a:tcPr/>
                </a:tc>
                <a:tc>
                  <a:txBody>
                    <a:bodyPr/>
                    <a:lstStyle/>
                    <a:p>
                      <a:pPr lvl="0" algn="ctr">
                        <a:lnSpc>
                          <a:spcPct val="100000"/>
                        </a:lnSpc>
                        <a:spcBef>
                          <a:spcPts val="0"/>
                        </a:spcBef>
                        <a:spcAft>
                          <a:spcPts val="0"/>
                        </a:spcAft>
                        <a:buNone/>
                      </a:pPr>
                      <a:r>
                        <a:rPr lang="en-US" sz="1800" b="0">
                          <a:solidFill>
                            <a:schemeClr val="tx1"/>
                          </a:solidFill>
                          <a:latin typeface="Aptos"/>
                        </a:rPr>
                        <a:t>25%</a:t>
                      </a:r>
                    </a:p>
                  </a:txBody>
                  <a:tcPr/>
                </a:tc>
                <a:tc>
                  <a:txBody>
                    <a:bodyPr/>
                    <a:lstStyle/>
                    <a:p>
                      <a:pPr lvl="0" algn="ctr">
                        <a:lnSpc>
                          <a:spcPct val="100000"/>
                        </a:lnSpc>
                        <a:spcBef>
                          <a:spcPts val="0"/>
                        </a:spcBef>
                        <a:spcAft>
                          <a:spcPts val="0"/>
                        </a:spcAft>
                        <a:buNone/>
                      </a:pPr>
                      <a:r>
                        <a:rPr lang="en-US" sz="1800" b="0" i="0" u="none" strike="noStrike" baseline="0" noProof="0">
                          <a:solidFill>
                            <a:schemeClr val="tx1"/>
                          </a:solidFill>
                          <a:latin typeface="Aptos"/>
                        </a:rPr>
                        <a:t>12/5/2025</a:t>
                      </a:r>
                      <a:endParaRPr lang="en-US" sz="1800" b="0">
                        <a:solidFill>
                          <a:schemeClr val="tx1"/>
                        </a:solidFill>
                        <a:latin typeface="Aptos"/>
                      </a:endParaRPr>
                    </a:p>
                  </a:txBody>
                  <a:tcPr/>
                </a:tc>
                <a:extLst>
                  <a:ext uri="{0D108BD9-81ED-4DB2-BD59-A6C34878D82A}">
                    <a16:rowId xmlns:a16="http://schemas.microsoft.com/office/drawing/2014/main" val="2468930824"/>
                  </a:ext>
                </a:extLst>
              </a:tr>
              <a:tr h="509824">
                <a:tc>
                  <a:txBody>
                    <a:bodyPr/>
                    <a:lstStyle/>
                    <a:p>
                      <a:pPr algn="ctr"/>
                      <a:r>
                        <a:rPr lang="en-US" sz="1800" b="1" u="sng" kern="1200">
                          <a:solidFill>
                            <a:schemeClr val="accent1"/>
                          </a:solidFill>
                          <a:effectLst/>
                          <a:latin typeface="Aptos"/>
                          <a:ea typeface="+mn-ea"/>
                          <a:cs typeface="+mn-cs"/>
                        </a:rPr>
                        <a:t>Archival Projects </a:t>
                      </a:r>
                    </a:p>
                  </a:txBody>
                  <a:tcPr anchor="ctr"/>
                </a:tc>
                <a:tc>
                  <a:txBody>
                    <a:bodyPr/>
                    <a:lstStyle/>
                    <a:p>
                      <a:pPr lvl="0" algn="ctr">
                        <a:lnSpc>
                          <a:spcPct val="100000"/>
                        </a:lnSpc>
                        <a:spcBef>
                          <a:spcPts val="0"/>
                        </a:spcBef>
                        <a:spcAft>
                          <a:spcPts val="0"/>
                        </a:spcAft>
                        <a:buNone/>
                      </a:pPr>
                      <a:r>
                        <a:rPr lang="en-US" sz="1800" b="0">
                          <a:solidFill>
                            <a:schemeClr val="tx1"/>
                          </a:solidFill>
                          <a:latin typeface="Aptos"/>
                        </a:rPr>
                        <a:t>State, Local Governments, NGOs, Academic Institutions, </a:t>
                      </a:r>
                      <a:r>
                        <a:rPr lang="en-US" sz="1800" i="0">
                          <a:latin typeface="Aptos"/>
                        </a:rPr>
                        <a:t>Federally- or State-recognized Tribes</a:t>
                      </a:r>
                      <a:endParaRPr lang="en-US" sz="1800" b="0">
                        <a:solidFill>
                          <a:schemeClr val="tx1"/>
                        </a:solidFill>
                        <a:latin typeface="Aptos"/>
                      </a:endParaRPr>
                    </a:p>
                  </a:txBody>
                  <a:tcPr/>
                </a:tc>
                <a:tc>
                  <a:txBody>
                    <a:bodyPr/>
                    <a:lstStyle/>
                    <a:p>
                      <a:pPr lvl="0" algn="ctr">
                        <a:lnSpc>
                          <a:spcPct val="100000"/>
                        </a:lnSpc>
                        <a:spcBef>
                          <a:spcPts val="0"/>
                        </a:spcBef>
                        <a:spcAft>
                          <a:spcPts val="0"/>
                        </a:spcAft>
                        <a:buNone/>
                      </a:pPr>
                      <a:r>
                        <a:rPr lang="en-US" sz="1800" b="0">
                          <a:solidFill>
                            <a:schemeClr val="tx1"/>
                          </a:solidFill>
                          <a:latin typeface="Aptos"/>
                        </a:rPr>
                        <a:t>$150,000</a:t>
                      </a:r>
                    </a:p>
                  </a:txBody>
                  <a:tcPr/>
                </a:tc>
                <a:tc>
                  <a:txBody>
                    <a:bodyPr/>
                    <a:lstStyle/>
                    <a:p>
                      <a:pPr lvl="0" algn="ctr">
                        <a:lnSpc>
                          <a:spcPct val="100000"/>
                        </a:lnSpc>
                        <a:spcBef>
                          <a:spcPts val="0"/>
                        </a:spcBef>
                        <a:spcAft>
                          <a:spcPts val="0"/>
                        </a:spcAft>
                        <a:buNone/>
                      </a:pPr>
                      <a:r>
                        <a:rPr lang="en-US" sz="1800" b="0">
                          <a:solidFill>
                            <a:schemeClr val="tx1"/>
                          </a:solidFill>
                          <a:latin typeface="Aptos"/>
                        </a:rPr>
                        <a:t>No</a:t>
                      </a:r>
                    </a:p>
                  </a:txBody>
                  <a:tcPr/>
                </a:tc>
                <a:tc>
                  <a:txBody>
                    <a:bodyPr/>
                    <a:lstStyle/>
                    <a:p>
                      <a:pPr lvl="0" algn="ctr">
                        <a:lnSpc>
                          <a:spcPct val="100000"/>
                        </a:lnSpc>
                        <a:spcBef>
                          <a:spcPts val="0"/>
                        </a:spcBef>
                        <a:spcAft>
                          <a:spcPts val="0"/>
                        </a:spcAft>
                        <a:buNone/>
                      </a:pPr>
                      <a:r>
                        <a:rPr lang="en-US" sz="1800" kern="1200">
                          <a:solidFill>
                            <a:schemeClr val="dk1"/>
                          </a:solidFill>
                          <a:effectLst/>
                          <a:latin typeface="Aptos"/>
                          <a:ea typeface="+mn-ea"/>
                          <a:cs typeface="+mn-cs"/>
                        </a:rPr>
                        <a:t>11/5/2025</a:t>
                      </a:r>
                      <a:endParaRPr lang="en-US" sz="1800" b="0">
                        <a:solidFill>
                          <a:schemeClr val="tx1"/>
                        </a:solidFill>
                        <a:latin typeface="Aptos"/>
                      </a:endParaRPr>
                    </a:p>
                  </a:txBody>
                  <a:tcPr/>
                </a:tc>
                <a:extLst>
                  <a:ext uri="{0D108BD9-81ED-4DB2-BD59-A6C34878D82A}">
                    <a16:rowId xmlns:a16="http://schemas.microsoft.com/office/drawing/2014/main" val="149004193"/>
                  </a:ext>
                </a:extLst>
              </a:tr>
            </a:tbl>
          </a:graphicData>
        </a:graphic>
      </p:graphicFrame>
      <p:sp>
        <p:nvSpPr>
          <p:cNvPr id="2" name="TextBox 1">
            <a:extLst>
              <a:ext uri="{FF2B5EF4-FFF2-40B4-BE49-F238E27FC236}">
                <a16:creationId xmlns:a16="http://schemas.microsoft.com/office/drawing/2014/main" id="{B38A9A6C-0B3C-E2BF-39CA-293C1AE74F48}"/>
              </a:ext>
            </a:extLst>
          </p:cNvPr>
          <p:cNvSpPr txBox="1"/>
          <p:nvPr/>
        </p:nvSpPr>
        <p:spPr>
          <a:xfrm>
            <a:off x="2135500" y="6024936"/>
            <a:ext cx="7565408" cy="555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1800"/>
              </a:lnSpc>
            </a:pPr>
            <a:r>
              <a:rPr lang="en-US">
                <a:cs typeface="Segoe UI"/>
              </a:rPr>
              <a:t>If you’ve applied for federal grants – let us know at </a:t>
            </a:r>
            <a:r>
              <a:rPr lang="en-US" u="sng">
                <a:solidFill>
                  <a:srgbClr val="6B9F25"/>
                </a:solidFill>
                <a:cs typeface="Segoe UI"/>
                <a:hlinkClick r:id="rId3"/>
              </a:rPr>
              <a:t>fedfundsinfra@mass.gov</a:t>
            </a:r>
            <a:r>
              <a:rPr lang="en-US">
                <a:cs typeface="Segoe UI"/>
              </a:rPr>
              <a:t>​</a:t>
            </a:r>
          </a:p>
          <a:p>
            <a:pPr>
              <a:lnSpc>
                <a:spcPts val="1800"/>
              </a:lnSpc>
            </a:pPr>
            <a:r>
              <a:rPr lang="en-US">
                <a:cs typeface="Segoe UI"/>
              </a:rPr>
              <a:t>Search for federal funding opportunities here: </a:t>
            </a:r>
            <a:r>
              <a:rPr lang="en-US" u="sng">
                <a:solidFill>
                  <a:srgbClr val="6B9F25"/>
                </a:solidFill>
                <a:cs typeface="Segoe UI"/>
                <a:hlinkClick r:id="rId4"/>
              </a:rPr>
              <a:t>Home | Grants.gov</a:t>
            </a:r>
          </a:p>
        </p:txBody>
      </p:sp>
    </p:spTree>
    <p:extLst>
      <p:ext uri="{BB962C8B-B14F-4D97-AF65-F5344CB8AC3E}">
        <p14:creationId xmlns:p14="http://schemas.microsoft.com/office/powerpoint/2010/main" val="31811204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9CF95D-8D81-5E41-5FED-C4BED276A7B3}"/>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768BA126-FB10-CA43-4107-F6ACEA3AFF15}"/>
              </a:ext>
            </a:extLst>
          </p:cNvPr>
          <p:cNvSpPr txBox="1">
            <a:spLocks/>
          </p:cNvSpPr>
          <p:nvPr/>
        </p:nvSpPr>
        <p:spPr>
          <a:xfrm>
            <a:off x="835590" y="803780"/>
            <a:ext cx="10055503" cy="1002453"/>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a:defRPr/>
            </a:pPr>
            <a:r>
              <a:rPr kumimoji="0" lang="en-US" sz="4400" b="0" i="0" u="none" strike="noStrike" kern="1200" cap="all" spc="100" normalizeH="0" baseline="0" noProof="0">
                <a:ln>
                  <a:noFill/>
                </a:ln>
                <a:solidFill>
                  <a:prstClr val="black"/>
                </a:solidFill>
                <a:effectLst/>
                <a:uLnTx/>
                <a:uFillTx/>
                <a:latin typeface="Tw Cen MT Condensed" panose="020B0606020104020203"/>
                <a:ea typeface="+mj-ea"/>
                <a:cs typeface="+mj-cs"/>
              </a:rPr>
              <a:t>New grants</a:t>
            </a:r>
            <a:r>
              <a:rPr lang="en-US" sz="4400">
                <a:solidFill>
                  <a:prstClr val="black"/>
                </a:solidFill>
                <a:latin typeface="Tw Cen MT Condensed" panose="020B0606020104020203"/>
              </a:rPr>
              <a:t>/Other funding opportunities</a:t>
            </a:r>
            <a:endParaRPr kumimoji="0" lang="en-US" sz="4400" b="0" i="0" u="none" strike="noStrike" kern="1200" cap="all" spc="100" normalizeH="0" baseline="0" noProof="0">
              <a:ln>
                <a:noFill/>
              </a:ln>
              <a:solidFill>
                <a:prstClr val="black"/>
              </a:solidFill>
              <a:effectLst/>
              <a:uLnTx/>
              <a:uFillTx/>
              <a:latin typeface="Tw Cen MT Condensed" panose="020B0606020104020203"/>
              <a:ea typeface="+mj-ea"/>
              <a:cs typeface="+mj-cs"/>
            </a:endParaRPr>
          </a:p>
        </p:txBody>
      </p:sp>
      <p:graphicFrame>
        <p:nvGraphicFramePr>
          <p:cNvPr id="6" name="Content Placeholder 5">
            <a:extLst>
              <a:ext uri="{FF2B5EF4-FFF2-40B4-BE49-F238E27FC236}">
                <a16:creationId xmlns:a16="http://schemas.microsoft.com/office/drawing/2014/main" id="{6A6980E1-34F0-6FB4-7B9D-EBB8D9A4230E}"/>
              </a:ext>
            </a:extLst>
          </p:cNvPr>
          <p:cNvGraphicFramePr>
            <a:graphicFrameLocks noGrp="1"/>
          </p:cNvGraphicFramePr>
          <p:nvPr>
            <p:ph idx="1"/>
            <p:extLst>
              <p:ext uri="{D42A27DB-BD31-4B8C-83A1-F6EECF244321}">
                <p14:modId xmlns:p14="http://schemas.microsoft.com/office/powerpoint/2010/main" val="17281980"/>
              </p:ext>
            </p:extLst>
          </p:nvPr>
        </p:nvGraphicFramePr>
        <p:xfrm>
          <a:off x="402162" y="2071409"/>
          <a:ext cx="11160102" cy="3222566"/>
        </p:xfrm>
        <a:graphic>
          <a:graphicData uri="http://schemas.openxmlformats.org/drawingml/2006/table">
            <a:tbl>
              <a:tblPr firstRow="1" bandRow="1">
                <a:tableStyleId>{5C22544A-7EE6-4342-B048-85BDC9FD1C3A}</a:tableStyleId>
              </a:tblPr>
              <a:tblGrid>
                <a:gridCol w="3185245">
                  <a:extLst>
                    <a:ext uri="{9D8B030D-6E8A-4147-A177-3AD203B41FA5}">
                      <a16:colId xmlns:a16="http://schemas.microsoft.com/office/drawing/2014/main" val="1434439961"/>
                    </a:ext>
                  </a:extLst>
                </a:gridCol>
                <a:gridCol w="2561762">
                  <a:extLst>
                    <a:ext uri="{9D8B030D-6E8A-4147-A177-3AD203B41FA5}">
                      <a16:colId xmlns:a16="http://schemas.microsoft.com/office/drawing/2014/main" val="2422528130"/>
                    </a:ext>
                  </a:extLst>
                </a:gridCol>
                <a:gridCol w="1624083">
                  <a:extLst>
                    <a:ext uri="{9D8B030D-6E8A-4147-A177-3AD203B41FA5}">
                      <a16:colId xmlns:a16="http://schemas.microsoft.com/office/drawing/2014/main" val="649423846"/>
                    </a:ext>
                  </a:extLst>
                </a:gridCol>
                <a:gridCol w="2183642">
                  <a:extLst>
                    <a:ext uri="{9D8B030D-6E8A-4147-A177-3AD203B41FA5}">
                      <a16:colId xmlns:a16="http://schemas.microsoft.com/office/drawing/2014/main" val="215457357"/>
                    </a:ext>
                  </a:extLst>
                </a:gridCol>
                <a:gridCol w="1605370">
                  <a:extLst>
                    <a:ext uri="{9D8B030D-6E8A-4147-A177-3AD203B41FA5}">
                      <a16:colId xmlns:a16="http://schemas.microsoft.com/office/drawing/2014/main" val="2914649782"/>
                    </a:ext>
                  </a:extLst>
                </a:gridCol>
              </a:tblGrid>
              <a:tr h="341513">
                <a:tc>
                  <a:txBody>
                    <a:bodyPr/>
                    <a:lstStyle/>
                    <a:p>
                      <a:pPr algn="ctr"/>
                      <a:r>
                        <a:rPr lang="en-US"/>
                        <a:t>Grant Name</a:t>
                      </a:r>
                    </a:p>
                  </a:txBody>
                  <a:tcPr/>
                </a:tc>
                <a:tc>
                  <a:txBody>
                    <a:bodyPr/>
                    <a:lstStyle/>
                    <a:p>
                      <a:pPr algn="ctr"/>
                      <a:r>
                        <a:rPr lang="en-US"/>
                        <a:t>Eligibility</a:t>
                      </a:r>
                    </a:p>
                  </a:txBody>
                  <a:tcPr/>
                </a:tc>
                <a:tc>
                  <a:txBody>
                    <a:bodyPr/>
                    <a:lstStyle/>
                    <a:p>
                      <a:pPr algn="ctr"/>
                      <a:r>
                        <a:rPr lang="en-US"/>
                        <a:t>Max Award</a:t>
                      </a:r>
                    </a:p>
                  </a:txBody>
                  <a:tcPr/>
                </a:tc>
                <a:tc>
                  <a:txBody>
                    <a:bodyPr/>
                    <a:lstStyle/>
                    <a:p>
                      <a:pPr algn="ctr"/>
                      <a:r>
                        <a:rPr lang="en-US"/>
                        <a:t>Cost Share</a:t>
                      </a:r>
                    </a:p>
                  </a:txBody>
                  <a:tcPr/>
                </a:tc>
                <a:tc>
                  <a:txBody>
                    <a:bodyPr/>
                    <a:lstStyle/>
                    <a:p>
                      <a:pPr algn="ctr"/>
                      <a:r>
                        <a:rPr lang="en-US"/>
                        <a:t>Deadline</a:t>
                      </a:r>
                    </a:p>
                  </a:txBody>
                  <a:tcPr/>
                </a:tc>
                <a:extLst>
                  <a:ext uri="{0D108BD9-81ED-4DB2-BD59-A6C34878D82A}">
                    <a16:rowId xmlns:a16="http://schemas.microsoft.com/office/drawing/2014/main" val="1212762885"/>
                  </a:ext>
                </a:extLst>
              </a:tr>
              <a:tr h="753686">
                <a:tc>
                  <a:txBody>
                    <a:bodyPr/>
                    <a:lstStyle/>
                    <a:p>
                      <a:pPr lvl="0" algn="ctr">
                        <a:lnSpc>
                          <a:spcPct val="100000"/>
                        </a:lnSpc>
                        <a:spcBef>
                          <a:spcPts val="0"/>
                        </a:spcBef>
                        <a:spcAft>
                          <a:spcPts val="0"/>
                        </a:spcAft>
                        <a:buNone/>
                      </a:pPr>
                      <a:r>
                        <a:rPr lang="en-US" sz="1800" b="1" i="0" u="sng" strike="noStrike" noProof="0">
                          <a:solidFill>
                            <a:schemeClr val="tx2"/>
                          </a:solidFill>
                          <a:latin typeface="Aptos"/>
                        </a:rPr>
                        <a:t>Rural Water and Wastewater Technical Assistance and Training Grant Program</a:t>
                      </a:r>
                      <a:endParaRPr lang="en-US" sz="1800">
                        <a:latin typeface="Aptos"/>
                      </a:endParaRPr>
                    </a:p>
                  </a:txBody>
                  <a:tcPr anchor="ctr"/>
                </a:tc>
                <a:tc>
                  <a:txBody>
                    <a:bodyPr/>
                    <a:lstStyle/>
                    <a:p>
                      <a:pPr lvl="0" algn="ctr">
                        <a:lnSpc>
                          <a:spcPct val="100000"/>
                        </a:lnSpc>
                        <a:spcBef>
                          <a:spcPts val="0"/>
                        </a:spcBef>
                        <a:spcAft>
                          <a:spcPts val="0"/>
                        </a:spcAft>
                        <a:buNone/>
                      </a:pPr>
                      <a:r>
                        <a:rPr lang="en-US" sz="1800" b="0" i="0" u="none" strike="noStrike" noProof="0">
                          <a:solidFill>
                            <a:schemeClr val="tx1"/>
                          </a:solidFill>
                          <a:latin typeface="Aptos"/>
                        </a:rPr>
                        <a:t>NGOs</a:t>
                      </a:r>
                    </a:p>
                  </a:txBody>
                  <a:tcPr/>
                </a:tc>
                <a:tc>
                  <a:txBody>
                    <a:bodyPr/>
                    <a:lstStyle/>
                    <a:p>
                      <a:pPr lvl="0" algn="ctr">
                        <a:lnSpc>
                          <a:spcPct val="100000"/>
                        </a:lnSpc>
                        <a:spcBef>
                          <a:spcPts val="0"/>
                        </a:spcBef>
                        <a:spcAft>
                          <a:spcPts val="0"/>
                        </a:spcAft>
                        <a:buNone/>
                      </a:pPr>
                      <a:r>
                        <a:rPr lang="en-US" sz="1800" b="0" i="0" u="none" strike="noStrike" noProof="0">
                          <a:solidFill>
                            <a:schemeClr val="tx1"/>
                          </a:solidFill>
                          <a:latin typeface="Aptos"/>
                        </a:rPr>
                        <a:t>N/A</a:t>
                      </a:r>
                    </a:p>
                  </a:txBody>
                  <a:tcPr/>
                </a:tc>
                <a:tc>
                  <a:txBody>
                    <a:bodyPr/>
                    <a:lstStyle/>
                    <a:p>
                      <a:pPr lvl="0" algn="ctr">
                        <a:lnSpc>
                          <a:spcPct val="100000"/>
                        </a:lnSpc>
                        <a:spcBef>
                          <a:spcPts val="0"/>
                        </a:spcBef>
                        <a:spcAft>
                          <a:spcPts val="0"/>
                        </a:spcAft>
                        <a:buNone/>
                      </a:pPr>
                      <a:r>
                        <a:rPr lang="en-US" sz="1800" b="0" i="0" u="none" strike="noStrike" noProof="0">
                          <a:solidFill>
                            <a:schemeClr val="tx1"/>
                          </a:solidFill>
                          <a:latin typeface="Aptos"/>
                        </a:rPr>
                        <a:t>No</a:t>
                      </a:r>
                    </a:p>
                  </a:txBody>
                  <a:tcPr/>
                </a:tc>
                <a:tc>
                  <a:txBody>
                    <a:bodyPr/>
                    <a:lstStyle/>
                    <a:p>
                      <a:pPr marL="0" lvl="0" indent="0" algn="ctr">
                        <a:lnSpc>
                          <a:spcPct val="100000"/>
                        </a:lnSpc>
                        <a:buNone/>
                      </a:pPr>
                      <a:r>
                        <a:rPr lang="en-US" sz="1800" b="0" i="0" u="none" strike="noStrike" baseline="0" noProof="0">
                          <a:solidFill>
                            <a:schemeClr val="tx1"/>
                          </a:solidFill>
                          <a:latin typeface="Aptos"/>
                        </a:rPr>
                        <a:t>12/31/2025</a:t>
                      </a:r>
                    </a:p>
                  </a:txBody>
                  <a:tcPr/>
                </a:tc>
                <a:extLst>
                  <a:ext uri="{0D108BD9-81ED-4DB2-BD59-A6C34878D82A}">
                    <a16:rowId xmlns:a16="http://schemas.microsoft.com/office/drawing/2014/main" val="149004193"/>
                  </a:ext>
                </a:extLst>
              </a:tr>
              <a:tr h="977437">
                <a:tc>
                  <a:txBody>
                    <a:bodyPr/>
                    <a:lstStyle/>
                    <a:p>
                      <a:pPr lvl="0" algn="ctr">
                        <a:buNone/>
                      </a:pPr>
                      <a:r>
                        <a:rPr lang="en-US" sz="1800" b="1" i="0" u="sng" strike="noStrike" kern="1200" noProof="0">
                          <a:solidFill>
                            <a:schemeClr val="tx2"/>
                          </a:solidFill>
                          <a:effectLst/>
                          <a:latin typeface="Aptos"/>
                        </a:rPr>
                        <a:t>Solid Waste Management Grant Program</a:t>
                      </a:r>
                      <a:endParaRPr lang="en-US" sz="1800">
                        <a:latin typeface="Aptos"/>
                      </a:endParaRPr>
                    </a:p>
                  </a:txBody>
                  <a:tcPr anchor="ctr"/>
                </a:tc>
                <a:tc>
                  <a:txBody>
                    <a:bodyPr/>
                    <a:lstStyle/>
                    <a:p>
                      <a:pPr lvl="0" algn="ctr">
                        <a:lnSpc>
                          <a:spcPct val="100000"/>
                        </a:lnSpc>
                        <a:spcBef>
                          <a:spcPts val="0"/>
                        </a:spcBef>
                        <a:spcAft>
                          <a:spcPts val="0"/>
                        </a:spcAft>
                        <a:buNone/>
                      </a:pPr>
                      <a:r>
                        <a:rPr lang="en-US" sz="1800" i="0">
                          <a:latin typeface="Aptos"/>
                        </a:rPr>
                        <a:t>NGOs, Federally- or State-recognized Tribes, Public bodies, Academic Institutions</a:t>
                      </a:r>
                    </a:p>
                  </a:txBody>
                  <a:tcPr/>
                </a:tc>
                <a:tc>
                  <a:txBody>
                    <a:bodyPr/>
                    <a:lstStyle/>
                    <a:p>
                      <a:pPr lvl="0" algn="ctr">
                        <a:lnSpc>
                          <a:spcPct val="100000"/>
                        </a:lnSpc>
                        <a:spcBef>
                          <a:spcPts val="0"/>
                        </a:spcBef>
                        <a:spcAft>
                          <a:spcPts val="0"/>
                        </a:spcAft>
                        <a:buNone/>
                      </a:pPr>
                      <a:r>
                        <a:rPr lang="en-US" sz="1800" b="0" i="0" u="none" strike="noStrike" noProof="0">
                          <a:solidFill>
                            <a:srgbClr val="000000"/>
                          </a:solidFill>
                          <a:latin typeface="Aptos"/>
                        </a:rPr>
                        <a:t>N/A</a:t>
                      </a:r>
                    </a:p>
                  </a:txBody>
                  <a:tcPr/>
                </a:tc>
                <a:tc>
                  <a:txBody>
                    <a:bodyPr/>
                    <a:lstStyle/>
                    <a:p>
                      <a:pPr lvl="0" algn="ctr">
                        <a:lnSpc>
                          <a:spcPct val="100000"/>
                        </a:lnSpc>
                        <a:spcBef>
                          <a:spcPts val="0"/>
                        </a:spcBef>
                        <a:spcAft>
                          <a:spcPts val="0"/>
                        </a:spcAft>
                        <a:buNone/>
                      </a:pPr>
                      <a:r>
                        <a:rPr lang="en-US" sz="1800">
                          <a:latin typeface="Aptos"/>
                        </a:rPr>
                        <a:t>No</a:t>
                      </a:r>
                    </a:p>
                  </a:txBody>
                  <a:tcPr/>
                </a:tc>
                <a:tc>
                  <a:txBody>
                    <a:bodyPr/>
                    <a:lstStyle/>
                    <a:p>
                      <a:pPr lvl="0" algn="ctr">
                        <a:lnSpc>
                          <a:spcPct val="100000"/>
                        </a:lnSpc>
                        <a:spcBef>
                          <a:spcPts val="0"/>
                        </a:spcBef>
                        <a:spcAft>
                          <a:spcPts val="0"/>
                        </a:spcAft>
                        <a:buNone/>
                      </a:pPr>
                      <a:r>
                        <a:rPr lang="en-US" sz="1800" b="0" i="0" u="none" strike="noStrike" noProof="0">
                          <a:solidFill>
                            <a:schemeClr val="tx1"/>
                          </a:solidFill>
                          <a:latin typeface="Aptos"/>
                        </a:rPr>
                        <a:t>12/31/2025</a:t>
                      </a:r>
                      <a:endParaRPr lang="en-US" sz="1800">
                        <a:latin typeface="Aptos"/>
                      </a:endParaRPr>
                    </a:p>
                  </a:txBody>
                  <a:tcPr/>
                </a:tc>
                <a:extLst>
                  <a:ext uri="{0D108BD9-81ED-4DB2-BD59-A6C34878D82A}">
                    <a16:rowId xmlns:a16="http://schemas.microsoft.com/office/drawing/2014/main" val="2750035740"/>
                  </a:ext>
                </a:extLst>
              </a:tr>
              <a:tr h="753686">
                <a:tc>
                  <a:txBody>
                    <a:bodyPr/>
                    <a:lstStyle/>
                    <a:p>
                      <a:pPr lvl="0" algn="ctr">
                        <a:buNone/>
                      </a:pPr>
                      <a:r>
                        <a:rPr lang="en-US" sz="1800" b="1" u="sng" kern="1200" noProof="0">
                          <a:solidFill>
                            <a:schemeClr val="tx2"/>
                          </a:solidFill>
                          <a:effectLst/>
                          <a:latin typeface="Aptos"/>
                          <a:ea typeface="+mn-ea"/>
                          <a:cs typeface="+mn-cs"/>
                        </a:rPr>
                        <a:t>Rural Decentralized Water System Grant Program</a:t>
                      </a:r>
                      <a:endParaRPr lang="en-US" sz="1800" b="1" u="sng" kern="1200" noProof="0">
                        <a:solidFill>
                          <a:schemeClr val="tx2"/>
                        </a:solidFill>
                        <a:effectLst/>
                        <a:latin typeface="Aptos"/>
                        <a:ea typeface="+mn-ea"/>
                        <a:cs typeface="+mn-cs"/>
                        <a:hlinkClick r:id="rId3">
                          <a:extLst>
                            <a:ext uri="{A12FA001-AC4F-418D-AE19-62706E023703}">
                              <ahyp:hlinkClr xmlns:ahyp="http://schemas.microsoft.com/office/drawing/2018/hyperlinkcolor" val="tx"/>
                            </a:ext>
                          </a:extLst>
                        </a:hlinkClick>
                      </a:endParaRPr>
                    </a:p>
                  </a:txBody>
                  <a:tcPr anchor="ctr"/>
                </a:tc>
                <a:tc>
                  <a:txBody>
                    <a:bodyPr/>
                    <a:lstStyle/>
                    <a:p>
                      <a:pPr lvl="0" algn="ctr">
                        <a:lnSpc>
                          <a:spcPct val="100000"/>
                        </a:lnSpc>
                        <a:spcBef>
                          <a:spcPts val="0"/>
                        </a:spcBef>
                        <a:spcAft>
                          <a:spcPts val="0"/>
                        </a:spcAft>
                        <a:buNone/>
                      </a:pPr>
                      <a:r>
                        <a:rPr lang="en-US" sz="1800" b="0" i="0" u="none" strike="noStrike" noProof="0">
                          <a:solidFill>
                            <a:schemeClr val="tx1"/>
                          </a:solidFill>
                          <a:latin typeface="Aptos"/>
                        </a:rPr>
                        <a:t>NGOs</a:t>
                      </a:r>
                    </a:p>
                  </a:txBody>
                  <a:tcPr/>
                </a:tc>
                <a:tc>
                  <a:txBody>
                    <a:bodyPr/>
                    <a:lstStyle/>
                    <a:p>
                      <a:pPr lvl="0" algn="ctr">
                        <a:lnSpc>
                          <a:spcPct val="100000"/>
                        </a:lnSpc>
                        <a:spcBef>
                          <a:spcPts val="0"/>
                        </a:spcBef>
                        <a:spcAft>
                          <a:spcPts val="0"/>
                        </a:spcAft>
                        <a:buNone/>
                      </a:pPr>
                      <a:r>
                        <a:rPr lang="en-US" sz="1800" b="0" i="0" u="none" strike="noStrike" noProof="0">
                          <a:solidFill>
                            <a:schemeClr val="tx1"/>
                          </a:solidFill>
                          <a:latin typeface="Aptos"/>
                        </a:rPr>
                        <a:t>N/A</a:t>
                      </a:r>
                    </a:p>
                  </a:txBody>
                  <a:tcPr/>
                </a:tc>
                <a:tc>
                  <a:txBody>
                    <a:bodyPr/>
                    <a:lstStyle/>
                    <a:p>
                      <a:pPr lvl="0" algn="ctr">
                        <a:lnSpc>
                          <a:spcPct val="100000"/>
                        </a:lnSpc>
                        <a:spcBef>
                          <a:spcPts val="0"/>
                        </a:spcBef>
                        <a:spcAft>
                          <a:spcPts val="0"/>
                        </a:spcAft>
                        <a:buNone/>
                      </a:pPr>
                      <a:r>
                        <a:rPr lang="en-US" b="0">
                          <a:solidFill>
                            <a:schemeClr val="tx1"/>
                          </a:solidFill>
                          <a:latin typeface="Aptos"/>
                        </a:rPr>
                        <a:t>10%</a:t>
                      </a:r>
                    </a:p>
                  </a:txBody>
                  <a:tcPr/>
                </a:tc>
                <a:tc>
                  <a:txBody>
                    <a:bodyPr/>
                    <a:lstStyle/>
                    <a:p>
                      <a:pPr lvl="0" algn="ctr">
                        <a:lnSpc>
                          <a:spcPct val="100000"/>
                        </a:lnSpc>
                        <a:spcBef>
                          <a:spcPts val="0"/>
                        </a:spcBef>
                        <a:spcAft>
                          <a:spcPts val="0"/>
                        </a:spcAft>
                        <a:buNone/>
                      </a:pPr>
                      <a:r>
                        <a:rPr lang="en-US" sz="1800" b="0" i="0" u="none" strike="noStrike" baseline="0" noProof="0">
                          <a:solidFill>
                            <a:schemeClr val="tx1"/>
                          </a:solidFill>
                          <a:latin typeface="Aptos"/>
                        </a:rPr>
                        <a:t>12/01/2025</a:t>
                      </a:r>
                    </a:p>
                  </a:txBody>
                  <a:tcPr/>
                </a:tc>
                <a:extLst>
                  <a:ext uri="{0D108BD9-81ED-4DB2-BD59-A6C34878D82A}">
                    <a16:rowId xmlns:a16="http://schemas.microsoft.com/office/drawing/2014/main" val="1943626342"/>
                  </a:ext>
                </a:extLst>
              </a:tr>
            </a:tbl>
          </a:graphicData>
        </a:graphic>
      </p:graphicFrame>
    </p:spTree>
    <p:extLst>
      <p:ext uri="{BB962C8B-B14F-4D97-AF65-F5344CB8AC3E}">
        <p14:creationId xmlns:p14="http://schemas.microsoft.com/office/powerpoint/2010/main" val="12380336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921545-4135-EBF8-9FDA-306F734391DF}"/>
              </a:ext>
            </a:extLst>
          </p:cNvPr>
          <p:cNvSpPr>
            <a:spLocks noGrp="1"/>
          </p:cNvSpPr>
          <p:nvPr>
            <p:ph type="title"/>
          </p:nvPr>
        </p:nvSpPr>
        <p:spPr/>
        <p:txBody>
          <a:bodyPr/>
          <a:lstStyle/>
          <a:p>
            <a:r>
              <a:rPr lang="en-US"/>
              <a:t>State programs: </a:t>
            </a:r>
          </a:p>
        </p:txBody>
      </p:sp>
      <p:pic>
        <p:nvPicPr>
          <p:cNvPr id="4" name="Picture 3" descr="Logo, company name&#10;&#10;AI-generated content may be incorrect.">
            <a:extLst>
              <a:ext uri="{FF2B5EF4-FFF2-40B4-BE49-F238E27FC236}">
                <a16:creationId xmlns:a16="http://schemas.microsoft.com/office/drawing/2014/main" id="{26425DFE-9147-D86F-7A34-A3BFE4CA34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8213" y="1802452"/>
            <a:ext cx="3120552" cy="2298894"/>
          </a:xfrm>
          <a:prstGeom prst="rect">
            <a:avLst/>
          </a:prstGeom>
        </p:spPr>
      </p:pic>
      <p:pic>
        <p:nvPicPr>
          <p:cNvPr id="6" name="Picture 5" descr="Graphical user interface, text&#10;&#10;AI-generated content may be incorrect.">
            <a:extLst>
              <a:ext uri="{FF2B5EF4-FFF2-40B4-BE49-F238E27FC236}">
                <a16:creationId xmlns:a16="http://schemas.microsoft.com/office/drawing/2014/main" id="{B82630FD-A931-8B94-1AF3-1A95BC23EF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26401" y="1870406"/>
            <a:ext cx="4528450" cy="1832525"/>
          </a:xfrm>
          <a:prstGeom prst="rect">
            <a:avLst/>
          </a:prstGeom>
        </p:spPr>
      </p:pic>
      <p:pic>
        <p:nvPicPr>
          <p:cNvPr id="8" name="Picture 7" descr="Graphical user interface, text&#10;&#10;AI-generated content may be incorrect.">
            <a:extLst>
              <a:ext uri="{FF2B5EF4-FFF2-40B4-BE49-F238E27FC236}">
                <a16:creationId xmlns:a16="http://schemas.microsoft.com/office/drawing/2014/main" id="{2416584A-7FD9-9EE6-220B-08CA44E3A1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9320" y="4271661"/>
            <a:ext cx="4726233" cy="1319571"/>
          </a:xfrm>
          <a:prstGeom prst="rect">
            <a:avLst/>
          </a:prstGeom>
        </p:spPr>
      </p:pic>
      <p:pic>
        <p:nvPicPr>
          <p:cNvPr id="9" name="Picture 12" descr="Rep. John Mahoney on X: &quot;Today, the MA ...">
            <a:extLst>
              <a:ext uri="{FF2B5EF4-FFF2-40B4-BE49-F238E27FC236}">
                <a16:creationId xmlns:a16="http://schemas.microsoft.com/office/drawing/2014/main" id="{F735B742-3958-2003-A820-2E1B28CE20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52487" y="1646106"/>
            <a:ext cx="2281127" cy="228112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Graphical user interface, text, application, website&#10;&#10;AI-generated content may be incorrect.">
            <a:extLst>
              <a:ext uri="{FF2B5EF4-FFF2-40B4-BE49-F238E27FC236}">
                <a16:creationId xmlns:a16="http://schemas.microsoft.com/office/drawing/2014/main" id="{6E7E12DC-2F94-F858-DC29-C92A5D3DFE2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86449" y="4248151"/>
            <a:ext cx="4435694" cy="1319571"/>
          </a:xfrm>
          <a:prstGeom prst="rect">
            <a:avLst/>
          </a:prstGeom>
        </p:spPr>
      </p:pic>
      <p:sp>
        <p:nvSpPr>
          <p:cNvPr id="12" name="TextBox 11">
            <a:extLst>
              <a:ext uri="{FF2B5EF4-FFF2-40B4-BE49-F238E27FC236}">
                <a16:creationId xmlns:a16="http://schemas.microsoft.com/office/drawing/2014/main" id="{59E6E90F-1016-0788-8EC1-C609EBF8841C}"/>
              </a:ext>
            </a:extLst>
          </p:cNvPr>
          <p:cNvSpPr txBox="1"/>
          <p:nvPr/>
        </p:nvSpPr>
        <p:spPr>
          <a:xfrm>
            <a:off x="1024128" y="5905619"/>
            <a:ext cx="11058862" cy="461665"/>
          </a:xfrm>
          <a:prstGeom prst="rect">
            <a:avLst/>
          </a:prstGeom>
          <a:noFill/>
        </p:spPr>
        <p:txBody>
          <a:bodyPr wrap="square" rtlCol="0">
            <a:spAutoFit/>
          </a:bodyPr>
          <a:lstStyle/>
          <a:p>
            <a:r>
              <a:rPr lang="en-US" sz="2400"/>
              <a:t>Search for state grant programs here: </a:t>
            </a:r>
            <a:r>
              <a:rPr lang="en-US" sz="2400">
                <a:hlinkClick r:id="rId7"/>
              </a:rPr>
              <a:t>Community Grant Finder | Mass.gov</a:t>
            </a:r>
            <a:endParaRPr lang="en-US" sz="2400"/>
          </a:p>
        </p:txBody>
      </p:sp>
    </p:spTree>
    <p:extLst>
      <p:ext uri="{BB962C8B-B14F-4D97-AF65-F5344CB8AC3E}">
        <p14:creationId xmlns:p14="http://schemas.microsoft.com/office/powerpoint/2010/main" val="41803952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2F9792-4C72-9682-58FA-55E70BD23DBA}"/>
              </a:ext>
            </a:extLst>
          </p:cNvPr>
          <p:cNvSpPr>
            <a:spLocks noGrp="1"/>
          </p:cNvSpPr>
          <p:nvPr>
            <p:ph type="title"/>
          </p:nvPr>
        </p:nvSpPr>
        <p:spPr/>
        <p:txBody>
          <a:bodyPr/>
          <a:lstStyle/>
          <a:p>
            <a:r>
              <a:rPr lang="en-US"/>
              <a:t>Direct Pay Tax Credits</a:t>
            </a:r>
          </a:p>
        </p:txBody>
      </p:sp>
      <p:pic>
        <p:nvPicPr>
          <p:cNvPr id="5" name="Picture 4">
            <a:extLst>
              <a:ext uri="{FF2B5EF4-FFF2-40B4-BE49-F238E27FC236}">
                <a16:creationId xmlns:a16="http://schemas.microsoft.com/office/drawing/2014/main" id="{CF493BDF-B586-F8DF-04C3-FD47B51E9ECB}"/>
              </a:ext>
            </a:extLst>
          </p:cNvPr>
          <p:cNvPicPr>
            <a:picLocks noChangeAspect="1"/>
          </p:cNvPicPr>
          <p:nvPr/>
        </p:nvPicPr>
        <p:blipFill>
          <a:blip r:embed="rId2"/>
          <a:stretch>
            <a:fillRect/>
          </a:stretch>
        </p:blipFill>
        <p:spPr>
          <a:xfrm>
            <a:off x="7541332" y="307221"/>
            <a:ext cx="2211990" cy="2055606"/>
          </a:xfrm>
          <a:prstGeom prst="rect">
            <a:avLst/>
          </a:prstGeom>
        </p:spPr>
      </p:pic>
      <p:sp>
        <p:nvSpPr>
          <p:cNvPr id="7" name="Content Placeholder 6">
            <a:extLst>
              <a:ext uri="{FF2B5EF4-FFF2-40B4-BE49-F238E27FC236}">
                <a16:creationId xmlns:a16="http://schemas.microsoft.com/office/drawing/2014/main" id="{0C3E94F8-6B06-3211-4F1C-8C46FDAC9CDF}"/>
              </a:ext>
            </a:extLst>
          </p:cNvPr>
          <p:cNvSpPr>
            <a:spLocks noGrp="1"/>
          </p:cNvSpPr>
          <p:nvPr>
            <p:ph idx="1"/>
          </p:nvPr>
        </p:nvSpPr>
        <p:spPr>
          <a:xfrm>
            <a:off x="949445" y="2466665"/>
            <a:ext cx="9869438" cy="4023360"/>
          </a:xfrm>
        </p:spPr>
        <p:txBody>
          <a:bodyPr vert="horz" lIns="45720" tIns="45720" rIns="45720" bIns="45720" rtlCol="0" anchor="t">
            <a:normAutofit fontScale="92500" lnSpcReduction="10000"/>
          </a:bodyPr>
          <a:lstStyle/>
          <a:p>
            <a:pPr marL="457200" indent="-457200">
              <a:buFont typeface="Calibri" panose="020B0602020104020603" pitchFamily="34" charset="0"/>
              <a:buChar char="-"/>
            </a:pPr>
            <a:r>
              <a:rPr lang="en-US" sz="2400"/>
              <a:t>Direct Pay Tax Credits allow non-taxable entities to receive tax credits from the IRS for certain qualifying clean energy projects. </a:t>
            </a:r>
            <a:endParaRPr lang="en-US" sz="2400">
              <a:solidFill>
                <a:srgbClr val="000000"/>
              </a:solidFill>
              <a:ea typeface="+mn-lt"/>
              <a:cs typeface="+mn-lt"/>
            </a:endParaRPr>
          </a:p>
          <a:p>
            <a:pPr marL="457200" indent="-457200">
              <a:buFont typeface="Calibri" panose="020B0602020104020603" pitchFamily="34" charset="0"/>
              <a:buChar char="-"/>
            </a:pPr>
            <a:r>
              <a:rPr lang="en-US" sz="2400">
                <a:solidFill>
                  <a:srgbClr val="141414"/>
                </a:solidFill>
                <a:ea typeface="+mn-lt"/>
                <a:cs typeface="+mn-lt"/>
              </a:rPr>
              <a:t>The passage of H.R. 1, also known as the One Big Beautiful Bill Act, significantly affects Direct Pay tax credit opportunities and timelines. </a:t>
            </a:r>
            <a:endParaRPr lang="en-US" sz="2400">
              <a:solidFill>
                <a:srgbClr val="000000"/>
              </a:solidFill>
              <a:ea typeface="+mn-lt"/>
              <a:cs typeface="+mn-lt"/>
            </a:endParaRPr>
          </a:p>
          <a:p>
            <a:pPr marL="457200" indent="-457200">
              <a:buFont typeface="Calibri" panose="020B0602020104020603" pitchFamily="34" charset="0"/>
              <a:buChar char="-"/>
            </a:pPr>
            <a:r>
              <a:rPr lang="en-US" sz="2400">
                <a:solidFill>
                  <a:srgbClr val="141414"/>
                </a:solidFill>
                <a:ea typeface="+mn-lt"/>
                <a:cs typeface="+mn-lt"/>
              </a:rPr>
              <a:t>Direct Pay still exists as a federal program, but OBBBA now imposes a variety of new restrictions, especially for solar and wind projects, and electric vehicle purchases and charging infrastructure.  </a:t>
            </a:r>
            <a:endParaRPr lang="en-US" sz="2400">
              <a:solidFill>
                <a:srgbClr val="000000"/>
              </a:solidFill>
              <a:ea typeface="+mn-lt"/>
              <a:cs typeface="+mn-lt"/>
            </a:endParaRPr>
          </a:p>
          <a:p>
            <a:pPr marL="457200" indent="-457200">
              <a:buFont typeface="Calibri" panose="020B0602020104020603" pitchFamily="34" charset="0"/>
              <a:buChar char="-"/>
            </a:pPr>
            <a:r>
              <a:rPr lang="en-US" sz="2400">
                <a:solidFill>
                  <a:srgbClr val="141414"/>
                </a:solidFill>
                <a:ea typeface="+mn-lt"/>
                <a:cs typeface="+mn-lt"/>
              </a:rPr>
              <a:t>However, </a:t>
            </a:r>
            <a:r>
              <a:rPr lang="en-US" sz="2400" b="1">
                <a:solidFill>
                  <a:srgbClr val="141414"/>
                </a:solidFill>
                <a:ea typeface="+mn-lt"/>
                <a:cs typeface="+mn-lt"/>
              </a:rPr>
              <a:t>tax credits remain available for qualifying ground-source heat pump and battery storage projects</a:t>
            </a:r>
            <a:r>
              <a:rPr lang="en-US" sz="2400">
                <a:solidFill>
                  <a:srgbClr val="141414"/>
                </a:solidFill>
                <a:ea typeface="+mn-lt"/>
                <a:cs typeface="+mn-lt"/>
              </a:rPr>
              <a:t>. </a:t>
            </a:r>
            <a:endParaRPr lang="en-US" sz="2400">
              <a:solidFill>
                <a:srgbClr val="000000"/>
              </a:solidFill>
              <a:ea typeface="+mn-lt"/>
              <a:cs typeface="+mn-lt"/>
            </a:endParaRPr>
          </a:p>
          <a:p>
            <a:pPr marL="457200" indent="-457200">
              <a:buFont typeface="Calibri" panose="020B0602020104020603" pitchFamily="34" charset="0"/>
              <a:buChar char="-"/>
            </a:pPr>
            <a:r>
              <a:rPr lang="en-US" sz="2400">
                <a:solidFill>
                  <a:srgbClr val="141414"/>
                </a:solidFill>
                <a:ea typeface="+mn-lt"/>
                <a:cs typeface="+mn-lt"/>
              </a:rPr>
              <a:t>If your community is considering or undergoing these types of projects, please contact FFIO at </a:t>
            </a:r>
            <a:r>
              <a:rPr lang="en-US" sz="2400" b="1">
                <a:solidFill>
                  <a:srgbClr val="14558F"/>
                </a:solidFill>
                <a:ea typeface="+mn-lt"/>
                <a:cs typeface="+mn-lt"/>
                <a:hlinkClick r:id="rId3"/>
              </a:rPr>
              <a:t>FedFundsInfra@mass.gov</a:t>
            </a:r>
            <a:r>
              <a:rPr lang="en-US" sz="2400">
                <a:solidFill>
                  <a:srgbClr val="141414"/>
                </a:solidFill>
                <a:ea typeface="+mn-lt"/>
                <a:cs typeface="+mn-lt"/>
              </a:rPr>
              <a:t> </a:t>
            </a:r>
            <a:endParaRPr lang="en-US" sz="2400"/>
          </a:p>
          <a:p>
            <a:pPr marL="0" indent="0">
              <a:buNone/>
            </a:pPr>
            <a:endParaRPr lang="en-US" sz="2800"/>
          </a:p>
        </p:txBody>
      </p:sp>
    </p:spTree>
    <p:extLst>
      <p:ext uri="{BB962C8B-B14F-4D97-AF65-F5344CB8AC3E}">
        <p14:creationId xmlns:p14="http://schemas.microsoft.com/office/powerpoint/2010/main" val="18402879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1168182" y="371917"/>
            <a:ext cx="9720072" cy="1499616"/>
          </a:xfrm>
        </p:spPr>
        <p:txBody>
          <a:bodyPr vert="horz" lIns="91440" tIns="45720" rIns="91440" bIns="45720" rtlCol="0" anchor="ctr">
            <a:noAutofit/>
          </a:bodyPr>
          <a:lstStyle/>
          <a:p>
            <a:pPr algn="ctr"/>
            <a:r>
              <a:rPr lang="en-US" sz="7200"/>
              <a:t>Municipal needs survey</a:t>
            </a:r>
            <a:endParaRPr lang="en-US" sz="2400"/>
          </a:p>
        </p:txBody>
      </p:sp>
      <p:sp>
        <p:nvSpPr>
          <p:cNvPr id="4" name="Text Placeholder 3">
            <a:extLst>
              <a:ext uri="{FF2B5EF4-FFF2-40B4-BE49-F238E27FC236}">
                <a16:creationId xmlns:a16="http://schemas.microsoft.com/office/drawing/2014/main" id="{B5CFEDE8-2F1D-DC67-361A-BB38DBDA43FE}"/>
              </a:ext>
            </a:extLst>
          </p:cNvPr>
          <p:cNvSpPr>
            <a:spLocks noGrp="1"/>
          </p:cNvSpPr>
          <p:nvPr>
            <p:ph type="body" idx="1"/>
          </p:nvPr>
        </p:nvSpPr>
        <p:spPr>
          <a:xfrm>
            <a:off x="897732" y="1871533"/>
            <a:ext cx="5900063" cy="3549708"/>
          </a:xfrm>
        </p:spPr>
        <p:txBody>
          <a:bodyPr>
            <a:normAutofit/>
          </a:bodyPr>
          <a:lstStyle/>
          <a:p>
            <a:r>
              <a:rPr lang="en-US" sz="2800" b="1"/>
              <a:t>Please take 5 minutes to fill out this form and help us learn more about how our office can support you to best leverage available and upcoming federal funding opportunities!</a:t>
            </a:r>
          </a:p>
        </p:txBody>
      </p:sp>
      <p:sp>
        <p:nvSpPr>
          <p:cNvPr id="9" name="Rectangle 8">
            <a:extLst>
              <a:ext uri="{FF2B5EF4-FFF2-40B4-BE49-F238E27FC236}">
                <a16:creationId xmlns:a16="http://schemas.microsoft.com/office/drawing/2014/main" id="{3F5EDDBA-8D94-FEFE-2099-EC25227C992A}"/>
              </a:ext>
            </a:extLst>
          </p:cNvPr>
          <p:cNvSpPr/>
          <p:nvPr/>
        </p:nvSpPr>
        <p:spPr>
          <a:xfrm>
            <a:off x="7523544" y="1756063"/>
            <a:ext cx="4309230" cy="4621587"/>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6" name="Picture 5" descr="A qr code on a white background&#10;&#10;Description automatically generated">
            <a:extLst>
              <a:ext uri="{FF2B5EF4-FFF2-40B4-BE49-F238E27FC236}">
                <a16:creationId xmlns:a16="http://schemas.microsoft.com/office/drawing/2014/main" id="{582481FE-B35C-47F1-BD27-496FB57B0C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2273" y="2208705"/>
            <a:ext cx="3831772" cy="3831772"/>
          </a:xfrm>
          <a:prstGeom prst="rect">
            <a:avLst/>
          </a:prstGeom>
        </p:spPr>
      </p:pic>
    </p:spTree>
    <p:extLst>
      <p:ext uri="{BB962C8B-B14F-4D97-AF65-F5344CB8AC3E}">
        <p14:creationId xmlns:p14="http://schemas.microsoft.com/office/powerpoint/2010/main" val="14130448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74C6A8-D275-C9DF-9110-3D2A4386DA4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54962" y="3813276"/>
            <a:ext cx="2256274" cy="1692206"/>
          </a:xfrm>
          <a:prstGeom prst="rect">
            <a:avLst/>
          </a:prstGeom>
        </p:spPr>
      </p:pic>
      <p:sp>
        <p:nvSpPr>
          <p:cNvPr id="2" name="Title 1">
            <a:extLst>
              <a:ext uri="{FF2B5EF4-FFF2-40B4-BE49-F238E27FC236}">
                <a16:creationId xmlns:a16="http://schemas.microsoft.com/office/drawing/2014/main" id="{21FD03CE-0619-B98F-6575-AAA77FF1FA0F}"/>
              </a:ext>
            </a:extLst>
          </p:cNvPr>
          <p:cNvSpPr>
            <a:spLocks noGrp="1"/>
          </p:cNvSpPr>
          <p:nvPr>
            <p:ph type="title"/>
          </p:nvPr>
        </p:nvSpPr>
        <p:spPr>
          <a:xfrm>
            <a:off x="914400" y="747067"/>
            <a:ext cx="10199370" cy="461665"/>
          </a:xfrm>
        </p:spPr>
        <p:txBody>
          <a:bodyPr/>
          <a:lstStyle/>
          <a:p>
            <a:r>
              <a:rPr lang="en-US" i="0">
                <a:latin typeface="+mj-lt"/>
              </a:rPr>
              <a:t>Local Early &amp; Actionable Planning (LEAP) Program</a:t>
            </a:r>
          </a:p>
        </p:txBody>
      </p:sp>
      <p:sp>
        <p:nvSpPr>
          <p:cNvPr id="5" name="TextBox 4">
            <a:extLst>
              <a:ext uri="{FF2B5EF4-FFF2-40B4-BE49-F238E27FC236}">
                <a16:creationId xmlns:a16="http://schemas.microsoft.com/office/drawing/2014/main" id="{16E37ADE-88E2-89B0-F8EB-06DB4CF64B48}"/>
              </a:ext>
            </a:extLst>
          </p:cNvPr>
          <p:cNvSpPr txBox="1"/>
          <p:nvPr/>
        </p:nvSpPr>
        <p:spPr>
          <a:xfrm>
            <a:off x="675597" y="1352518"/>
            <a:ext cx="6479365" cy="5632311"/>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0" cap="none" spc="0" normalizeH="0" baseline="0" noProof="0">
                <a:ln>
                  <a:noFill/>
                </a:ln>
                <a:solidFill>
                  <a:sysClr val="windowText" lastClr="000000"/>
                </a:solidFill>
                <a:effectLst/>
                <a:uLnTx/>
                <a:uFillTx/>
                <a:latin typeface="Poppins"/>
              </a:rPr>
              <a:t>Overview:</a:t>
            </a:r>
            <a:r>
              <a:rPr kumimoji="0" lang="en-US" sz="1500" b="0" i="0" u="none" strike="noStrike" kern="0" cap="none" spc="0" normalizeH="0" baseline="0" noProof="0">
                <a:ln>
                  <a:noFill/>
                </a:ln>
                <a:solidFill>
                  <a:sysClr val="windowText" lastClr="000000"/>
                </a:solidFill>
                <a:effectLst/>
                <a:uLnTx/>
                <a:uFillTx/>
                <a:latin typeface="Poppins"/>
              </a:rPr>
              <a:t> MassDOT’s Municipal Planning &amp; Support Team has procured consultant support to provide early-stage planning and project development activities for underserved municipalities in Massachusett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latin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0" cap="none" spc="0" normalizeH="0" baseline="0" noProof="0">
                <a:ln>
                  <a:noFill/>
                </a:ln>
                <a:solidFill>
                  <a:sysClr val="windowText" lastClr="000000"/>
                </a:solidFill>
                <a:effectLst/>
                <a:uLnTx/>
                <a:uFillTx/>
                <a:latin typeface="Poppins"/>
                <a:cs typeface="Poppins"/>
              </a:rPr>
              <a:t>Cost of Available Services:</a:t>
            </a:r>
            <a:r>
              <a:rPr kumimoji="0" lang="en-US" sz="1500" b="0" i="0" u="none" strike="noStrike" kern="0" cap="none" spc="0" normalizeH="0" baseline="0" noProof="0">
                <a:ln>
                  <a:noFill/>
                </a:ln>
                <a:solidFill>
                  <a:sysClr val="windowText" lastClr="000000"/>
                </a:solidFill>
                <a:effectLst/>
                <a:uLnTx/>
                <a:uFillTx/>
                <a:latin typeface="Poppins"/>
                <a:cs typeface="Poppins"/>
              </a:rPr>
              <a:t> $1 million is available in State Fiscal Year 2026. Individual tasks will be roughly between</a:t>
            </a:r>
            <a:r>
              <a:rPr kumimoji="0" lang="en-US" sz="1500" b="1" i="0" u="none" strike="noStrike" kern="0" cap="none" spc="0" normalizeH="0" baseline="0" noProof="0">
                <a:ln>
                  <a:noFill/>
                </a:ln>
                <a:solidFill>
                  <a:sysClr val="windowText" lastClr="000000"/>
                </a:solidFill>
                <a:effectLst/>
                <a:uLnTx/>
                <a:uFillTx/>
                <a:latin typeface="Poppins"/>
                <a:cs typeface="Poppins"/>
              </a:rPr>
              <a:t> $25,000 - $100,000 for the first round.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Poppins"/>
                <a:cs typeface="Poppins"/>
              </a:rPr>
              <a:t> </a:t>
            </a:r>
            <a:endParaRPr kumimoji="0" lang="en-US" sz="1500" b="0" i="0" u="none" strike="noStrike" kern="0" cap="none" spc="0" normalizeH="0" baseline="0" noProof="0">
              <a:ln>
                <a:noFill/>
              </a:ln>
              <a:solidFill>
                <a:sysClr val="windowText" lastClr="000000"/>
              </a:solidFill>
              <a:effectLst/>
              <a:uLnTx/>
              <a:uFillTx/>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0" cap="none" spc="0" normalizeH="0" baseline="0" noProof="0">
                <a:ln>
                  <a:noFill/>
                </a:ln>
                <a:solidFill>
                  <a:sysClr val="windowText" lastClr="000000"/>
                </a:solidFill>
                <a:effectLst/>
                <a:uLnTx/>
                <a:uFillTx/>
                <a:latin typeface="Poppins"/>
                <a:cs typeface="Poppins"/>
              </a:rPr>
              <a:t>Eligible Projects: </a:t>
            </a:r>
            <a:r>
              <a:rPr kumimoji="0" lang="en-US" sz="1500" b="0" i="0" u="none" strike="noStrike" kern="0" cap="none" spc="0" normalizeH="0" baseline="0" noProof="0">
                <a:ln>
                  <a:noFill/>
                </a:ln>
                <a:solidFill>
                  <a:sysClr val="windowText" lastClr="000000"/>
                </a:solidFill>
                <a:effectLst/>
                <a:uLnTx/>
                <a:uFillTx/>
                <a:latin typeface="Poppins"/>
                <a:cs typeface="Poppins"/>
              </a:rPr>
              <a:t>Alternatives Analyses to Inform Project Scope, Conceptual Designs, Safe Streets Network Strategy, Grant Application Development, Safety Analysis, Traffic Analysis, Visual and Mapping Support, Cost Estimation, etc.</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1" i="0" u="none" strike="noStrike" kern="0" cap="none" spc="0" normalizeH="0" baseline="0" noProof="0">
              <a:ln>
                <a:noFill/>
              </a:ln>
              <a:solidFill>
                <a:sysClr val="windowText" lastClr="000000"/>
              </a:solidFill>
              <a:effectLst/>
              <a:uLnTx/>
              <a:uFillTx/>
              <a:latin typeface="Poppins"/>
              <a:cs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0" cap="none" spc="0" normalizeH="0" baseline="0" noProof="0">
                <a:ln>
                  <a:noFill/>
                </a:ln>
                <a:solidFill>
                  <a:sysClr val="windowText" lastClr="000000"/>
                </a:solidFill>
                <a:effectLst/>
                <a:uLnTx/>
                <a:uFillTx/>
                <a:latin typeface="Poppins"/>
                <a:cs typeface="Poppins"/>
              </a:rPr>
              <a:t>Timing: </a:t>
            </a:r>
            <a:r>
              <a:rPr kumimoji="0" lang="en-US" sz="1500" b="0" i="0" u="none" strike="noStrike" kern="0" cap="none" spc="0" normalizeH="0" baseline="0" noProof="0">
                <a:ln>
                  <a:noFill/>
                </a:ln>
                <a:solidFill>
                  <a:sysClr val="windowText" lastClr="000000"/>
                </a:solidFill>
                <a:effectLst/>
                <a:uLnTx/>
                <a:uFillTx/>
                <a:latin typeface="Poppins"/>
                <a:cs typeface="Poppins"/>
              </a:rPr>
              <a:t>Requests are accepted on a rolling basis but priority deadline was 9/30/2025. </a:t>
            </a:r>
            <a:r>
              <a:rPr kumimoji="0" lang="en-US" sz="1500" b="1" i="0" u="none" strike="noStrike" kern="0" cap="none" spc="0" normalizeH="0" baseline="0" noProof="0">
                <a:ln>
                  <a:noFill/>
                </a:ln>
                <a:solidFill>
                  <a:sysClr val="windowText" lastClr="000000"/>
                </a:solidFill>
                <a:effectLst/>
                <a:uLnTx/>
                <a:uFillTx/>
                <a:latin typeface="Poppins"/>
                <a:cs typeface="Poppins"/>
              </a:rPr>
              <a:t>MassDOT received 52 total submissions and is reviewing these now.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4F81BD">
                  <a:lumMod val="60000"/>
                  <a:lumOff val="40000"/>
                </a:srgbClr>
              </a:solidFill>
              <a:effectLst/>
              <a:uLnTx/>
              <a:uFillTx/>
              <a:latin typeface="Poppins"/>
              <a:cs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0" cap="none" spc="0" normalizeH="0" baseline="0" noProof="0">
                <a:ln>
                  <a:noFill/>
                </a:ln>
                <a:solidFill>
                  <a:sysClr val="windowText" lastClr="000000"/>
                </a:solidFill>
                <a:effectLst/>
                <a:uLnTx/>
                <a:uFillTx/>
                <a:latin typeface="Poppins"/>
                <a:cs typeface="Poppins"/>
              </a:rPr>
              <a:t>How to Request Assistance:</a:t>
            </a:r>
            <a:r>
              <a:rPr kumimoji="0" lang="en-US" sz="1500" b="0" i="0" u="none" strike="noStrike" kern="0" cap="none" spc="0" normalizeH="0" baseline="0" noProof="0">
                <a:ln>
                  <a:noFill/>
                </a:ln>
                <a:solidFill>
                  <a:sysClr val="windowText" lastClr="000000"/>
                </a:solidFill>
                <a:effectLst/>
                <a:uLnTx/>
                <a:uFillTx/>
                <a:latin typeface="Poppins"/>
                <a:cs typeface="Poppins"/>
              </a:rPr>
              <a:t> Form on Grant Central </a:t>
            </a:r>
            <a:r>
              <a:rPr kumimoji="0" lang="en-US" sz="1500" b="0" i="0" u="none" strike="noStrike" kern="0" cap="none" spc="0" normalizeH="0" baseline="0" noProof="0">
                <a:ln>
                  <a:noFill/>
                </a:ln>
                <a:solidFill>
                  <a:sysClr val="windowText" lastClr="000000"/>
                </a:solidFill>
                <a:effectLst/>
                <a:uLnTx/>
                <a:uFillTx/>
                <a:latin typeface="Poppins"/>
                <a:cs typeface="Poppins"/>
                <a:hlinkClick r:id="rId4"/>
              </a:rPr>
              <a:t>LEAP Page</a:t>
            </a:r>
            <a:endParaRPr kumimoji="0" lang="en-US" sz="1500" b="0" i="0" u="none" strike="noStrike" kern="0" cap="none" spc="0" normalizeH="0" baseline="0" noProof="0">
              <a:ln>
                <a:noFill/>
              </a:ln>
              <a:solidFill>
                <a:sysClr val="windowText" lastClr="000000"/>
              </a:solidFill>
              <a:effectLst/>
              <a:uLnTx/>
              <a:uFillTx/>
              <a:latin typeface="Poppins"/>
              <a:cs typeface="Poppin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latin typeface="Poppins"/>
              <a:cs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0" cap="none" spc="0" normalizeH="0" baseline="0" noProof="0">
                <a:ln>
                  <a:noFill/>
                </a:ln>
                <a:solidFill>
                  <a:sysClr val="windowText" lastClr="000000"/>
                </a:solidFill>
                <a:effectLst/>
                <a:uLnTx/>
                <a:uFillTx/>
                <a:latin typeface="Poppins"/>
                <a:cs typeface="Poppins"/>
              </a:rPr>
              <a:t>Contact: </a:t>
            </a:r>
            <a:r>
              <a:rPr kumimoji="0" lang="en-US" sz="1500" b="0" i="0" u="none" strike="noStrike" kern="0" cap="none" spc="0" normalizeH="0" baseline="0" noProof="0">
                <a:ln>
                  <a:noFill/>
                </a:ln>
                <a:solidFill>
                  <a:sysClr val="windowText" lastClr="000000"/>
                </a:solidFill>
                <a:effectLst/>
                <a:uLnTx/>
                <a:uFillTx/>
                <a:latin typeface="Poppins"/>
                <a:cs typeface="Poppins"/>
              </a:rPr>
              <a:t>Derek Krevat, MassDOT Office of Transportation Planning, </a:t>
            </a:r>
            <a:r>
              <a:rPr kumimoji="0" lang="en-US" sz="1500" b="0" i="0" u="none" strike="noStrike" kern="0" cap="none" spc="0" normalizeH="0" baseline="0" noProof="0">
                <a:ln>
                  <a:noFill/>
                </a:ln>
                <a:solidFill>
                  <a:sysClr val="windowText" lastClr="000000"/>
                </a:solidFill>
                <a:effectLst/>
                <a:uLnTx/>
                <a:uFillTx/>
                <a:latin typeface="Poppins"/>
                <a:cs typeface="Poppins"/>
                <a:hlinkClick r:id="rId5"/>
              </a:rPr>
              <a:t>Derek.Krevat@dot.state.ma.us</a:t>
            </a:r>
            <a:r>
              <a:rPr kumimoji="0" lang="en-US" sz="1500" b="0" i="0" u="none" strike="noStrike" kern="0" cap="none" spc="0" normalizeH="0" baseline="0" noProof="0">
                <a:ln>
                  <a:noFill/>
                </a:ln>
                <a:solidFill>
                  <a:sysClr val="windowText" lastClr="000000"/>
                </a:solidFill>
                <a:effectLst/>
                <a:uLnTx/>
                <a:uFillTx/>
                <a:latin typeface="Poppins"/>
                <a:cs typeface="Poppins"/>
              </a:rPr>
              <a:t> </a:t>
            </a:r>
            <a:endParaRPr kumimoji="0" lang="en-US" sz="1500" b="1" i="0" u="none" strike="noStrike" kern="0" cap="none" spc="0" normalizeH="0" baseline="0" noProof="0">
              <a:ln>
                <a:noFill/>
              </a:ln>
              <a:solidFill>
                <a:sysClr val="windowText" lastClr="000000"/>
              </a:solidFill>
              <a:effectLst/>
              <a:uLnTx/>
              <a:uFillTx/>
              <a:latin typeface="Poppins"/>
              <a:cs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1" i="0" u="none" strike="noStrike" kern="0" cap="none" spc="0" normalizeH="0" baseline="0" noProof="0">
              <a:ln>
                <a:noFill/>
              </a:ln>
              <a:solidFill>
                <a:sysClr val="windowText" lastClr="000000"/>
              </a:solidFill>
              <a:effectLst/>
              <a:uLnTx/>
              <a:uFillTx/>
              <a:latin typeface="Poppin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latin typeface="Poppins"/>
            </a:endParaRPr>
          </a:p>
        </p:txBody>
      </p:sp>
      <p:pic>
        <p:nvPicPr>
          <p:cNvPr id="6" name="Picture 5">
            <a:extLst>
              <a:ext uri="{FF2B5EF4-FFF2-40B4-BE49-F238E27FC236}">
                <a16:creationId xmlns:a16="http://schemas.microsoft.com/office/drawing/2014/main" id="{4E625A83-3E74-A552-850A-B0E6A83FE51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0" y="2256828"/>
            <a:ext cx="2752197" cy="3669596"/>
          </a:xfrm>
          <a:prstGeom prst="rect">
            <a:avLst/>
          </a:prstGeom>
          <a:ln w="28575">
            <a:solidFill>
              <a:schemeClr val="tx1"/>
            </a:solidFill>
          </a:ln>
        </p:spPr>
      </p:pic>
      <p:pic>
        <p:nvPicPr>
          <p:cNvPr id="4" name="Picture 3">
            <a:extLst>
              <a:ext uri="{FF2B5EF4-FFF2-40B4-BE49-F238E27FC236}">
                <a16:creationId xmlns:a16="http://schemas.microsoft.com/office/drawing/2014/main" id="{C89CE190-E3EF-BEDD-7D1A-AF002E82DEB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28698" y="1470126"/>
            <a:ext cx="3124200" cy="2343150"/>
          </a:xfrm>
          <a:prstGeom prst="rect">
            <a:avLst/>
          </a:prstGeom>
          <a:ln w="28575">
            <a:solidFill>
              <a:schemeClr val="tx1"/>
            </a:solidFill>
          </a:ln>
        </p:spPr>
      </p:pic>
    </p:spTree>
    <p:extLst>
      <p:ext uri="{BB962C8B-B14F-4D97-AF65-F5344CB8AC3E}">
        <p14:creationId xmlns:p14="http://schemas.microsoft.com/office/powerpoint/2010/main" val="16030706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DFE3E5"/>
        </a:solidFill>
        <a:effectLst/>
      </p:bgPr>
    </p:bg>
    <p:spTree>
      <p:nvGrpSpPr>
        <p:cNvPr id="1" name=""/>
        <p:cNvGrpSpPr/>
        <p:nvPr/>
      </p:nvGrpSpPr>
      <p:grpSpPr>
        <a:xfrm>
          <a:off x="0" y="0"/>
          <a:ext cx="0" cy="0"/>
          <a:chOff x="0" y="0"/>
          <a:chExt cx="0" cy="0"/>
        </a:xfrm>
      </p:grpSpPr>
      <p:grpSp>
        <p:nvGrpSpPr>
          <p:cNvPr id="2" name="Group 2"/>
          <p:cNvGrpSpPr/>
          <p:nvPr/>
        </p:nvGrpSpPr>
        <p:grpSpPr>
          <a:xfrm rot="5400000">
            <a:off x="992916" y="-992916"/>
            <a:ext cx="6858000" cy="8843833"/>
            <a:chOff x="0" y="0"/>
            <a:chExt cx="2709333" cy="3493860"/>
          </a:xfrm>
        </p:grpSpPr>
        <p:sp>
          <p:nvSpPr>
            <p:cNvPr id="3" name="Freeform 3"/>
            <p:cNvSpPr/>
            <p:nvPr/>
          </p:nvSpPr>
          <p:spPr>
            <a:xfrm>
              <a:off x="0" y="0"/>
              <a:ext cx="2709333" cy="3493860"/>
            </a:xfrm>
            <a:custGeom>
              <a:avLst/>
              <a:gdLst/>
              <a:ahLst/>
              <a:cxnLst/>
              <a:rect l="l" t="t" r="r" b="b"/>
              <a:pathLst>
                <a:path w="2709333" h="3493860">
                  <a:moveTo>
                    <a:pt x="0" y="0"/>
                  </a:moveTo>
                  <a:lnTo>
                    <a:pt x="2709333" y="0"/>
                  </a:lnTo>
                  <a:lnTo>
                    <a:pt x="2709333" y="3493860"/>
                  </a:lnTo>
                  <a:lnTo>
                    <a:pt x="0" y="3493860"/>
                  </a:lnTo>
                  <a:close/>
                </a:path>
              </a:pathLst>
            </a:custGeom>
            <a:gradFill rotWithShape="1">
              <a:gsLst>
                <a:gs pos="0">
                  <a:srgbClr val="318EC4">
                    <a:alpha val="100000"/>
                  </a:srgbClr>
                </a:gs>
                <a:gs pos="100000">
                  <a:srgbClr val="05659C">
                    <a:alpha val="100000"/>
                  </a:srgbClr>
                </a:gs>
              </a:gsLst>
              <a:lin ang="0"/>
            </a:gradFill>
          </p:spPr>
          <p:txBody>
            <a:bodyPr/>
            <a:lstStyle/>
            <a:p>
              <a:pPr defTabSz="609630"/>
              <a:endParaRPr lang="en-US" sz="1200">
                <a:solidFill>
                  <a:prstClr val="black"/>
                </a:solidFill>
                <a:latin typeface="Calibri"/>
              </a:endParaRPr>
            </a:p>
          </p:txBody>
        </p:sp>
        <p:sp>
          <p:nvSpPr>
            <p:cNvPr id="4" name="TextBox 4"/>
            <p:cNvSpPr txBox="1"/>
            <p:nvPr/>
          </p:nvSpPr>
          <p:spPr>
            <a:xfrm>
              <a:off x="0" y="-38100"/>
              <a:ext cx="2709333" cy="3531960"/>
            </a:xfrm>
            <a:prstGeom prst="rect">
              <a:avLst/>
            </a:prstGeom>
          </p:spPr>
          <p:txBody>
            <a:bodyPr lIns="50800" tIns="50800" rIns="50800" bIns="50800" rtlCol="0" anchor="ctr"/>
            <a:lstStyle/>
            <a:p>
              <a:pPr algn="ctr" defTabSz="609630">
                <a:lnSpc>
                  <a:spcPts val="1819"/>
                </a:lnSpc>
              </a:pPr>
              <a:endParaRPr sz="1200">
                <a:solidFill>
                  <a:prstClr val="black"/>
                </a:solidFill>
                <a:latin typeface="Calibri"/>
              </a:endParaRPr>
            </a:p>
          </p:txBody>
        </p:sp>
      </p:grpSp>
      <p:sp>
        <p:nvSpPr>
          <p:cNvPr id="5" name="Freeform 5"/>
          <p:cNvSpPr/>
          <p:nvPr/>
        </p:nvSpPr>
        <p:spPr>
          <a:xfrm>
            <a:off x="9381045" y="2300264"/>
            <a:ext cx="2257472" cy="2257472"/>
          </a:xfrm>
          <a:custGeom>
            <a:avLst/>
            <a:gdLst/>
            <a:ahLst/>
            <a:cxnLst/>
            <a:rect l="l" t="t" r="r" b="b"/>
            <a:pathLst>
              <a:path w="3386208" h="3386208">
                <a:moveTo>
                  <a:pt x="0" y="0"/>
                </a:moveTo>
                <a:lnTo>
                  <a:pt x="3386207" y="0"/>
                </a:lnTo>
                <a:lnTo>
                  <a:pt x="3386207" y="3386208"/>
                </a:lnTo>
                <a:lnTo>
                  <a:pt x="0" y="3386208"/>
                </a:lnTo>
                <a:lnTo>
                  <a:pt x="0" y="0"/>
                </a:lnTo>
                <a:close/>
              </a:path>
            </a:pathLst>
          </a:custGeom>
          <a:blipFill>
            <a:blip r:embed="rId3"/>
            <a:stretch>
              <a:fillRect/>
            </a:stretch>
          </a:blipFill>
        </p:spPr>
        <p:txBody>
          <a:bodyPr/>
          <a:lstStyle/>
          <a:p>
            <a:pPr defTabSz="609630"/>
            <a:endParaRPr lang="en-US" sz="1200">
              <a:solidFill>
                <a:prstClr val="black"/>
              </a:solidFill>
              <a:latin typeface="Calibri"/>
            </a:endParaRPr>
          </a:p>
        </p:txBody>
      </p:sp>
      <p:sp>
        <p:nvSpPr>
          <p:cNvPr id="6" name="Freeform 6"/>
          <p:cNvSpPr/>
          <p:nvPr/>
        </p:nvSpPr>
        <p:spPr>
          <a:xfrm>
            <a:off x="180475" y="5303150"/>
            <a:ext cx="3945831" cy="1462645"/>
          </a:xfrm>
          <a:custGeom>
            <a:avLst/>
            <a:gdLst/>
            <a:ahLst/>
            <a:cxnLst/>
            <a:rect l="l" t="t" r="r" b="b"/>
            <a:pathLst>
              <a:path w="5918747" h="2193968">
                <a:moveTo>
                  <a:pt x="0" y="0"/>
                </a:moveTo>
                <a:lnTo>
                  <a:pt x="5918747" y="0"/>
                </a:lnTo>
                <a:lnTo>
                  <a:pt x="5918747" y="2193968"/>
                </a:lnTo>
                <a:lnTo>
                  <a:pt x="0" y="2193968"/>
                </a:lnTo>
                <a:lnTo>
                  <a:pt x="0" y="0"/>
                </a:lnTo>
                <a:close/>
              </a:path>
            </a:pathLst>
          </a:custGeom>
          <a:blipFill>
            <a:blip r:embed="rId4"/>
            <a:stretch>
              <a:fillRect/>
            </a:stretch>
          </a:blipFill>
        </p:spPr>
        <p:txBody>
          <a:bodyPr/>
          <a:lstStyle/>
          <a:p>
            <a:pPr defTabSz="609630"/>
            <a:endParaRPr lang="en-US" sz="1200">
              <a:solidFill>
                <a:prstClr val="black"/>
              </a:solidFill>
              <a:latin typeface="Calibri"/>
            </a:endParaRPr>
          </a:p>
        </p:txBody>
      </p:sp>
      <p:sp>
        <p:nvSpPr>
          <p:cNvPr id="7" name="TextBox 7"/>
          <p:cNvSpPr txBox="1"/>
          <p:nvPr/>
        </p:nvSpPr>
        <p:spPr>
          <a:xfrm>
            <a:off x="439577" y="2780778"/>
            <a:ext cx="7373459" cy="795089"/>
          </a:xfrm>
          <a:prstGeom prst="rect">
            <a:avLst/>
          </a:prstGeom>
        </p:spPr>
        <p:txBody>
          <a:bodyPr lIns="0" tIns="0" rIns="0" bIns="0" rtlCol="0" anchor="t">
            <a:spAutoFit/>
          </a:bodyPr>
          <a:lstStyle/>
          <a:p>
            <a:pPr defTabSz="609630">
              <a:lnSpc>
                <a:spcPts val="3120"/>
              </a:lnSpc>
            </a:pPr>
            <a:r>
              <a:rPr lang="en-US" sz="2600" spc="78">
                <a:solidFill>
                  <a:srgbClr val="FCFCFC"/>
                </a:solidFill>
                <a:latin typeface="Canva Sans"/>
                <a:ea typeface="Canva Sans"/>
                <a:cs typeface="Canva Sans"/>
                <a:sym typeface="Canva Sans"/>
              </a:rPr>
              <a:t>Simplifying Federal Grant Applications </a:t>
            </a:r>
          </a:p>
          <a:p>
            <a:pPr defTabSz="609630">
              <a:lnSpc>
                <a:spcPts val="3120"/>
              </a:lnSpc>
            </a:pPr>
            <a:r>
              <a:rPr lang="en-US" sz="2600" spc="78">
                <a:solidFill>
                  <a:srgbClr val="FCFCFC"/>
                </a:solidFill>
                <a:latin typeface="Canva Sans"/>
                <a:ea typeface="Canva Sans"/>
                <a:cs typeface="Canva Sans"/>
                <a:sym typeface="Canva Sans"/>
              </a:rPr>
              <a:t>with AI</a:t>
            </a:r>
          </a:p>
        </p:txBody>
      </p:sp>
      <p:sp>
        <p:nvSpPr>
          <p:cNvPr id="8" name="TextBox 8"/>
          <p:cNvSpPr txBox="1"/>
          <p:nvPr/>
        </p:nvSpPr>
        <p:spPr>
          <a:xfrm>
            <a:off x="180475" y="1413741"/>
            <a:ext cx="4572091" cy="1223668"/>
          </a:xfrm>
          <a:prstGeom prst="rect">
            <a:avLst/>
          </a:prstGeom>
        </p:spPr>
        <p:txBody>
          <a:bodyPr lIns="0" tIns="0" rIns="0" bIns="0" rtlCol="0" anchor="t">
            <a:spAutoFit/>
          </a:bodyPr>
          <a:lstStyle/>
          <a:p>
            <a:pPr algn="ctr" defTabSz="609630">
              <a:lnSpc>
                <a:spcPts val="10667"/>
              </a:lnSpc>
              <a:spcBef>
                <a:spcPct val="0"/>
              </a:spcBef>
            </a:pPr>
            <a:r>
              <a:rPr lang="en-US" sz="6666" b="1">
                <a:solidFill>
                  <a:srgbClr val="FCFCFC"/>
                </a:solidFill>
                <a:latin typeface="Canva Sans Bold"/>
                <a:ea typeface="Canva Sans Bold"/>
                <a:cs typeface="Canva Sans Bold"/>
                <a:sym typeface="Canva Sans Bold"/>
              </a:rPr>
              <a:t>GrantWell</a:t>
            </a:r>
          </a:p>
        </p:txBody>
      </p:sp>
      <p:sp>
        <p:nvSpPr>
          <p:cNvPr id="9" name="TextBox 9"/>
          <p:cNvSpPr txBox="1"/>
          <p:nvPr/>
        </p:nvSpPr>
        <p:spPr>
          <a:xfrm>
            <a:off x="5134770" y="5960728"/>
            <a:ext cx="3454959" cy="542328"/>
          </a:xfrm>
          <a:prstGeom prst="rect">
            <a:avLst/>
          </a:prstGeom>
        </p:spPr>
        <p:txBody>
          <a:bodyPr lIns="0" tIns="0" rIns="0" bIns="0" rtlCol="0" anchor="t">
            <a:spAutoFit/>
          </a:bodyPr>
          <a:lstStyle/>
          <a:p>
            <a:pPr algn="r" defTabSz="609630">
              <a:lnSpc>
                <a:spcPts val="2166"/>
              </a:lnSpc>
            </a:pPr>
            <a:r>
              <a:rPr lang="en-US" sz="1666" b="1">
                <a:solidFill>
                  <a:srgbClr val="FCFCFC"/>
                </a:solidFill>
                <a:latin typeface="Canva Sans Medium"/>
                <a:ea typeface="Canva Sans Medium"/>
                <a:cs typeface="Canva Sans Medium"/>
                <a:sym typeface="Canva Sans Medium"/>
              </a:rPr>
              <a:t>Jai Surya Kode</a:t>
            </a:r>
          </a:p>
          <a:p>
            <a:pPr algn="r" defTabSz="609630">
              <a:lnSpc>
                <a:spcPts val="2166"/>
              </a:lnSpc>
            </a:pPr>
            <a:r>
              <a:rPr lang="en-US" sz="1666" b="1">
                <a:solidFill>
                  <a:srgbClr val="FCFCFC"/>
                </a:solidFill>
                <a:latin typeface="Canva Sans Medium"/>
                <a:ea typeface="Canva Sans Medium"/>
                <a:cs typeface="Canva Sans Medium"/>
                <a:sym typeface="Canva Sans Medium"/>
              </a:rPr>
              <a:t>Anjith Prakash</a:t>
            </a:r>
          </a:p>
        </p:txBody>
      </p:sp>
    </p:spTree>
    <p:extLst>
      <p:ext uri="{BB962C8B-B14F-4D97-AF65-F5344CB8AC3E}">
        <p14:creationId xmlns:p14="http://schemas.microsoft.com/office/powerpoint/2010/main" val="6753497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DFE3E5"/>
        </a:solidFill>
        <a:effectLst/>
      </p:bgPr>
    </p:bg>
    <p:spTree>
      <p:nvGrpSpPr>
        <p:cNvPr id="1" name=""/>
        <p:cNvGrpSpPr/>
        <p:nvPr/>
      </p:nvGrpSpPr>
      <p:grpSpPr>
        <a:xfrm>
          <a:off x="0" y="0"/>
          <a:ext cx="0" cy="0"/>
          <a:chOff x="0" y="0"/>
          <a:chExt cx="0" cy="0"/>
        </a:xfrm>
      </p:grpSpPr>
      <p:sp>
        <p:nvSpPr>
          <p:cNvPr id="2" name="TextBox 2"/>
          <p:cNvSpPr txBox="1"/>
          <p:nvPr/>
        </p:nvSpPr>
        <p:spPr>
          <a:xfrm>
            <a:off x="416976" y="812505"/>
            <a:ext cx="10820400" cy="450123"/>
          </a:xfrm>
          <a:prstGeom prst="rect">
            <a:avLst/>
          </a:prstGeom>
        </p:spPr>
        <p:txBody>
          <a:bodyPr lIns="0" tIns="0" rIns="0" bIns="0" rtlCol="0" anchor="t">
            <a:spAutoFit/>
          </a:bodyPr>
          <a:lstStyle/>
          <a:p>
            <a:pPr defTabSz="609630">
              <a:lnSpc>
                <a:spcPts val="2933"/>
              </a:lnSpc>
            </a:pPr>
            <a:r>
              <a:rPr lang="en-US" sz="5866" b="1">
                <a:solidFill>
                  <a:srgbClr val="05659C"/>
                </a:solidFill>
                <a:latin typeface="Canva Sans Bold"/>
                <a:ea typeface="Canva Sans Bold"/>
                <a:cs typeface="Canva Sans Bold"/>
                <a:sym typeface="Canva Sans Bold"/>
              </a:rPr>
              <a:t>The Opportunity</a:t>
            </a:r>
          </a:p>
        </p:txBody>
      </p:sp>
      <p:sp>
        <p:nvSpPr>
          <p:cNvPr id="3" name="TextBox 3"/>
          <p:cNvSpPr txBox="1"/>
          <p:nvPr/>
        </p:nvSpPr>
        <p:spPr>
          <a:xfrm>
            <a:off x="6936863" y="629624"/>
            <a:ext cx="4569337" cy="690638"/>
          </a:xfrm>
          <a:prstGeom prst="rect">
            <a:avLst/>
          </a:prstGeom>
        </p:spPr>
        <p:txBody>
          <a:bodyPr lIns="0" tIns="0" rIns="0" bIns="0" rtlCol="0" anchor="t">
            <a:spAutoFit/>
          </a:bodyPr>
          <a:lstStyle/>
          <a:p>
            <a:pPr defTabSz="609630">
              <a:lnSpc>
                <a:spcPts val="2773"/>
              </a:lnSpc>
            </a:pPr>
            <a:r>
              <a:rPr lang="en-US" sz="2133">
                <a:solidFill>
                  <a:srgbClr val="05659C"/>
                </a:solidFill>
                <a:latin typeface="Canva Sans"/>
                <a:ea typeface="Canva Sans"/>
                <a:cs typeface="Canva Sans"/>
                <a:sym typeface="Canva Sans"/>
              </a:rPr>
              <a:t>Connecting With Communities, Listening and Building Together</a:t>
            </a:r>
          </a:p>
        </p:txBody>
      </p:sp>
      <p:grpSp>
        <p:nvGrpSpPr>
          <p:cNvPr id="4" name="Group 4"/>
          <p:cNvGrpSpPr/>
          <p:nvPr/>
        </p:nvGrpSpPr>
        <p:grpSpPr>
          <a:xfrm>
            <a:off x="1054571" y="2220693"/>
            <a:ext cx="10082858" cy="4036831"/>
            <a:chOff x="0" y="0"/>
            <a:chExt cx="20165716" cy="8073661"/>
          </a:xfrm>
        </p:grpSpPr>
        <p:sp>
          <p:nvSpPr>
            <p:cNvPr id="5" name="Freeform 5"/>
            <p:cNvSpPr/>
            <p:nvPr/>
          </p:nvSpPr>
          <p:spPr>
            <a:xfrm>
              <a:off x="0" y="0"/>
              <a:ext cx="20165716" cy="7528534"/>
            </a:xfrm>
            <a:custGeom>
              <a:avLst/>
              <a:gdLst/>
              <a:ahLst/>
              <a:cxnLst/>
              <a:rect l="l" t="t" r="r" b="b"/>
              <a:pathLst>
                <a:path w="20165716" h="7528534">
                  <a:moveTo>
                    <a:pt x="0" y="0"/>
                  </a:moveTo>
                  <a:lnTo>
                    <a:pt x="20165716" y="0"/>
                  </a:lnTo>
                  <a:lnTo>
                    <a:pt x="20165716" y="7528534"/>
                  </a:lnTo>
                  <a:lnTo>
                    <a:pt x="0" y="7528534"/>
                  </a:lnTo>
                  <a:lnTo>
                    <a:pt x="0" y="0"/>
                  </a:lnTo>
                  <a:close/>
                </a:path>
              </a:pathLst>
            </a:custGeom>
            <a:blipFill>
              <a:blip r:embed="rId3"/>
              <a:stretch>
                <a:fillRect/>
              </a:stretch>
            </a:blipFill>
          </p:spPr>
          <p:txBody>
            <a:bodyPr/>
            <a:lstStyle/>
            <a:p>
              <a:pPr defTabSz="609630"/>
              <a:endParaRPr lang="en-US" sz="1200">
                <a:solidFill>
                  <a:prstClr val="black"/>
                </a:solidFill>
                <a:latin typeface="Calibri"/>
              </a:endParaRPr>
            </a:p>
          </p:txBody>
        </p:sp>
        <p:sp>
          <p:nvSpPr>
            <p:cNvPr id="6" name="TextBox 6"/>
            <p:cNvSpPr txBox="1"/>
            <p:nvPr/>
          </p:nvSpPr>
          <p:spPr>
            <a:xfrm>
              <a:off x="178780" y="7557109"/>
              <a:ext cx="2140844" cy="516552"/>
            </a:xfrm>
            <a:prstGeom prst="rect">
              <a:avLst/>
            </a:prstGeom>
          </p:spPr>
          <p:txBody>
            <a:bodyPr lIns="0" tIns="0" rIns="0" bIns="0" rtlCol="0" anchor="t">
              <a:spAutoFit/>
            </a:bodyPr>
            <a:lstStyle/>
            <a:p>
              <a:pPr defTabSz="609630">
                <a:lnSpc>
                  <a:spcPts val="2239"/>
                </a:lnSpc>
                <a:spcBef>
                  <a:spcPct val="0"/>
                </a:spcBef>
              </a:pPr>
              <a:r>
                <a:rPr lang="en-US" sz="1600">
                  <a:solidFill>
                    <a:srgbClr val="443D39"/>
                  </a:solidFill>
                  <a:latin typeface="Cooper BT Light"/>
                  <a:ea typeface="Cooper BT Light"/>
                  <a:cs typeface="Cooper BT Light"/>
                  <a:sym typeface="Cooper BT Light"/>
                </a:rPr>
                <a:t>Worcester</a:t>
              </a:r>
            </a:p>
          </p:txBody>
        </p:sp>
        <p:sp>
          <p:nvSpPr>
            <p:cNvPr id="7" name="TextBox 7"/>
            <p:cNvSpPr txBox="1"/>
            <p:nvPr/>
          </p:nvSpPr>
          <p:spPr>
            <a:xfrm>
              <a:off x="7784592" y="4215917"/>
              <a:ext cx="2140844" cy="516552"/>
            </a:xfrm>
            <a:prstGeom prst="rect">
              <a:avLst/>
            </a:prstGeom>
          </p:spPr>
          <p:txBody>
            <a:bodyPr lIns="0" tIns="0" rIns="0" bIns="0" rtlCol="0" anchor="t">
              <a:spAutoFit/>
            </a:bodyPr>
            <a:lstStyle/>
            <a:p>
              <a:pPr defTabSz="609630">
                <a:lnSpc>
                  <a:spcPts val="2239"/>
                </a:lnSpc>
                <a:spcBef>
                  <a:spcPct val="0"/>
                </a:spcBef>
              </a:pPr>
              <a:r>
                <a:rPr lang="en-US" sz="1600">
                  <a:solidFill>
                    <a:srgbClr val="443D39"/>
                  </a:solidFill>
                  <a:latin typeface="Cooper BT Light"/>
                  <a:ea typeface="Cooper BT Light"/>
                  <a:cs typeface="Cooper BT Light"/>
                  <a:sym typeface="Cooper BT Light"/>
                </a:rPr>
                <a:t>Haverhill</a:t>
              </a:r>
            </a:p>
          </p:txBody>
        </p:sp>
        <p:sp>
          <p:nvSpPr>
            <p:cNvPr id="8" name="TextBox 8"/>
            <p:cNvSpPr txBox="1"/>
            <p:nvPr/>
          </p:nvSpPr>
          <p:spPr>
            <a:xfrm>
              <a:off x="8855012" y="1114712"/>
              <a:ext cx="2140844" cy="516552"/>
            </a:xfrm>
            <a:prstGeom prst="rect">
              <a:avLst/>
            </a:prstGeom>
          </p:spPr>
          <p:txBody>
            <a:bodyPr lIns="0" tIns="0" rIns="0" bIns="0" rtlCol="0" anchor="t">
              <a:spAutoFit/>
            </a:bodyPr>
            <a:lstStyle/>
            <a:p>
              <a:pPr defTabSz="609630">
                <a:lnSpc>
                  <a:spcPts val="2239"/>
                </a:lnSpc>
                <a:spcBef>
                  <a:spcPct val="0"/>
                </a:spcBef>
              </a:pPr>
              <a:r>
                <a:rPr lang="en-US" sz="1600">
                  <a:solidFill>
                    <a:srgbClr val="443D39"/>
                  </a:solidFill>
                  <a:latin typeface="Cooper BT Light"/>
                  <a:ea typeface="Cooper BT Light"/>
                  <a:cs typeface="Cooper BT Light"/>
                  <a:sym typeface="Cooper BT Light"/>
                </a:rPr>
                <a:t>Brockton</a:t>
              </a:r>
            </a:p>
          </p:txBody>
        </p:sp>
        <p:sp>
          <p:nvSpPr>
            <p:cNvPr id="9" name="TextBox 9"/>
            <p:cNvSpPr txBox="1"/>
            <p:nvPr/>
          </p:nvSpPr>
          <p:spPr>
            <a:xfrm>
              <a:off x="12602604" y="3239124"/>
              <a:ext cx="2140844" cy="516552"/>
            </a:xfrm>
            <a:prstGeom prst="rect">
              <a:avLst/>
            </a:prstGeom>
          </p:spPr>
          <p:txBody>
            <a:bodyPr lIns="0" tIns="0" rIns="0" bIns="0" rtlCol="0" anchor="t">
              <a:spAutoFit/>
            </a:bodyPr>
            <a:lstStyle/>
            <a:p>
              <a:pPr defTabSz="609630">
                <a:lnSpc>
                  <a:spcPts val="2239"/>
                </a:lnSpc>
                <a:spcBef>
                  <a:spcPct val="0"/>
                </a:spcBef>
              </a:pPr>
              <a:r>
                <a:rPr lang="en-US" sz="1600">
                  <a:solidFill>
                    <a:srgbClr val="443D39"/>
                  </a:solidFill>
                  <a:latin typeface="Cooper BT Light"/>
                  <a:ea typeface="Cooper BT Light"/>
                  <a:cs typeface="Cooper BT Light"/>
                  <a:sym typeface="Cooper BT Light"/>
                </a:rPr>
                <a:t>Boston</a:t>
              </a:r>
            </a:p>
          </p:txBody>
        </p:sp>
        <p:sp>
          <p:nvSpPr>
            <p:cNvPr id="10" name="TextBox 10"/>
            <p:cNvSpPr txBox="1"/>
            <p:nvPr/>
          </p:nvSpPr>
          <p:spPr>
            <a:xfrm>
              <a:off x="15094892" y="6709807"/>
              <a:ext cx="2871830" cy="516552"/>
            </a:xfrm>
            <a:prstGeom prst="rect">
              <a:avLst/>
            </a:prstGeom>
          </p:spPr>
          <p:txBody>
            <a:bodyPr lIns="0" tIns="0" rIns="0" bIns="0" rtlCol="0" anchor="t">
              <a:spAutoFit/>
            </a:bodyPr>
            <a:lstStyle/>
            <a:p>
              <a:pPr defTabSz="609630">
                <a:lnSpc>
                  <a:spcPts val="2239"/>
                </a:lnSpc>
                <a:spcBef>
                  <a:spcPct val="0"/>
                </a:spcBef>
              </a:pPr>
              <a:r>
                <a:rPr lang="en-US" sz="1600">
                  <a:solidFill>
                    <a:srgbClr val="443D39"/>
                  </a:solidFill>
                  <a:latin typeface="Cooper BT Light"/>
                  <a:ea typeface="Cooper BT Light"/>
                  <a:cs typeface="Cooper BT Light"/>
                  <a:sym typeface="Cooper BT Light"/>
                </a:rPr>
                <a:t>New Bedford</a:t>
              </a:r>
            </a:p>
          </p:txBody>
        </p:sp>
        <p:sp>
          <p:nvSpPr>
            <p:cNvPr id="11" name="Freeform 11"/>
            <p:cNvSpPr/>
            <p:nvPr/>
          </p:nvSpPr>
          <p:spPr>
            <a:xfrm>
              <a:off x="15409441" y="6447"/>
              <a:ext cx="755872" cy="1618066"/>
            </a:xfrm>
            <a:custGeom>
              <a:avLst/>
              <a:gdLst/>
              <a:ahLst/>
              <a:cxnLst/>
              <a:rect l="l" t="t" r="r" b="b"/>
              <a:pathLst>
                <a:path w="755872" h="1618066">
                  <a:moveTo>
                    <a:pt x="0" y="0"/>
                  </a:moveTo>
                  <a:lnTo>
                    <a:pt x="755871" y="0"/>
                  </a:lnTo>
                  <a:lnTo>
                    <a:pt x="755871" y="1618066"/>
                  </a:lnTo>
                  <a:lnTo>
                    <a:pt x="0" y="1618066"/>
                  </a:lnTo>
                  <a:lnTo>
                    <a:pt x="0" y="0"/>
                  </a:lnTo>
                  <a:close/>
                </a:path>
              </a:pathLst>
            </a:custGeom>
            <a:blipFill>
              <a:blip r:embed="rId3"/>
              <a:stretch>
                <a:fillRect l="-2567876" t="-138908" b="-226371"/>
              </a:stretch>
            </a:blipFill>
          </p:spPr>
          <p:txBody>
            <a:bodyPr/>
            <a:lstStyle/>
            <a:p>
              <a:pPr defTabSz="609630"/>
              <a:endParaRPr lang="en-US" sz="1200">
                <a:solidFill>
                  <a:prstClr val="black"/>
                </a:solidFill>
                <a:latin typeface="Calibri"/>
              </a:endParaRPr>
            </a:p>
          </p:txBody>
        </p:sp>
        <p:sp>
          <p:nvSpPr>
            <p:cNvPr id="12" name="TextBox 12"/>
            <p:cNvSpPr txBox="1"/>
            <p:nvPr/>
          </p:nvSpPr>
          <p:spPr>
            <a:xfrm>
              <a:off x="16101812" y="1127412"/>
              <a:ext cx="2140844" cy="516552"/>
            </a:xfrm>
            <a:prstGeom prst="rect">
              <a:avLst/>
            </a:prstGeom>
          </p:spPr>
          <p:txBody>
            <a:bodyPr lIns="0" tIns="0" rIns="0" bIns="0" rtlCol="0" anchor="t">
              <a:spAutoFit/>
            </a:bodyPr>
            <a:lstStyle/>
            <a:p>
              <a:pPr defTabSz="609630">
                <a:lnSpc>
                  <a:spcPts val="2239"/>
                </a:lnSpc>
                <a:spcBef>
                  <a:spcPct val="0"/>
                </a:spcBef>
              </a:pPr>
              <a:r>
                <a:rPr lang="en-US" sz="1600">
                  <a:solidFill>
                    <a:srgbClr val="443D39"/>
                  </a:solidFill>
                  <a:latin typeface="Cooper BT Light"/>
                  <a:ea typeface="Cooper BT Light"/>
                  <a:cs typeface="Cooper BT Light"/>
                  <a:sym typeface="Cooper BT Light"/>
                </a:rPr>
                <a:t>Gloucester</a:t>
              </a:r>
            </a:p>
          </p:txBody>
        </p:sp>
        <p:sp>
          <p:nvSpPr>
            <p:cNvPr id="13" name="TextBox 13"/>
            <p:cNvSpPr txBox="1"/>
            <p:nvPr/>
          </p:nvSpPr>
          <p:spPr>
            <a:xfrm>
              <a:off x="17070636" y="3366124"/>
              <a:ext cx="2871830" cy="516552"/>
            </a:xfrm>
            <a:prstGeom prst="rect">
              <a:avLst/>
            </a:prstGeom>
          </p:spPr>
          <p:txBody>
            <a:bodyPr lIns="0" tIns="0" rIns="0" bIns="0" rtlCol="0" anchor="t">
              <a:spAutoFit/>
            </a:bodyPr>
            <a:lstStyle/>
            <a:p>
              <a:pPr algn="ctr" defTabSz="609630">
                <a:lnSpc>
                  <a:spcPts val="2239"/>
                </a:lnSpc>
                <a:spcBef>
                  <a:spcPct val="0"/>
                </a:spcBef>
              </a:pPr>
              <a:r>
                <a:rPr lang="en-US" sz="1600">
                  <a:solidFill>
                    <a:srgbClr val="443D39"/>
                  </a:solidFill>
                  <a:latin typeface="Cooper BT Light"/>
                  <a:ea typeface="Cooper BT Light"/>
                  <a:cs typeface="Cooper BT Light"/>
                  <a:sym typeface="Cooper BT Light"/>
                </a:rPr>
                <a:t>Barnstable</a:t>
              </a:r>
            </a:p>
          </p:txBody>
        </p:sp>
      </p:grpSp>
    </p:spTree>
    <p:extLst>
      <p:ext uri="{BB962C8B-B14F-4D97-AF65-F5344CB8AC3E}">
        <p14:creationId xmlns:p14="http://schemas.microsoft.com/office/powerpoint/2010/main" val="26223447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DFE3E5"/>
        </a:solidFill>
        <a:effectLst/>
      </p:bgPr>
    </p:bg>
    <p:spTree>
      <p:nvGrpSpPr>
        <p:cNvPr id="1" name=""/>
        <p:cNvGrpSpPr/>
        <p:nvPr/>
      </p:nvGrpSpPr>
      <p:grpSpPr>
        <a:xfrm>
          <a:off x="0" y="0"/>
          <a:ext cx="0" cy="0"/>
          <a:chOff x="0" y="0"/>
          <a:chExt cx="0" cy="0"/>
        </a:xfrm>
      </p:grpSpPr>
      <p:sp>
        <p:nvSpPr>
          <p:cNvPr id="2" name="Freeform 2"/>
          <p:cNvSpPr/>
          <p:nvPr/>
        </p:nvSpPr>
        <p:spPr>
          <a:xfrm>
            <a:off x="923490" y="4174000"/>
            <a:ext cx="3556751" cy="2336075"/>
          </a:xfrm>
          <a:custGeom>
            <a:avLst/>
            <a:gdLst/>
            <a:ahLst/>
            <a:cxnLst/>
            <a:rect l="l" t="t" r="r" b="b"/>
            <a:pathLst>
              <a:path w="5335126" h="3504112">
                <a:moveTo>
                  <a:pt x="0" y="0"/>
                </a:moveTo>
                <a:lnTo>
                  <a:pt x="5335126" y="0"/>
                </a:lnTo>
                <a:lnTo>
                  <a:pt x="5335126" y="3504112"/>
                </a:lnTo>
                <a:lnTo>
                  <a:pt x="0" y="3504112"/>
                </a:lnTo>
                <a:lnTo>
                  <a:pt x="0" y="0"/>
                </a:lnTo>
                <a:close/>
              </a:path>
            </a:pathLst>
          </a:custGeom>
          <a:blipFill>
            <a:blip r:embed="rId3"/>
            <a:stretch>
              <a:fillRect t="-14189"/>
            </a:stretch>
          </a:blipFill>
        </p:spPr>
        <p:txBody>
          <a:bodyPr/>
          <a:lstStyle/>
          <a:p>
            <a:pPr defTabSz="609630"/>
            <a:endParaRPr lang="en-US" sz="1200">
              <a:solidFill>
                <a:prstClr val="black"/>
              </a:solidFill>
              <a:latin typeface="Calibri"/>
            </a:endParaRPr>
          </a:p>
        </p:txBody>
      </p:sp>
      <p:sp>
        <p:nvSpPr>
          <p:cNvPr id="3" name="Freeform 3"/>
          <p:cNvSpPr/>
          <p:nvPr/>
        </p:nvSpPr>
        <p:spPr>
          <a:xfrm>
            <a:off x="8159760" y="1675076"/>
            <a:ext cx="3147861" cy="4834998"/>
          </a:xfrm>
          <a:custGeom>
            <a:avLst/>
            <a:gdLst/>
            <a:ahLst/>
            <a:cxnLst/>
            <a:rect l="l" t="t" r="r" b="b"/>
            <a:pathLst>
              <a:path w="4721791" h="7252497">
                <a:moveTo>
                  <a:pt x="0" y="0"/>
                </a:moveTo>
                <a:lnTo>
                  <a:pt x="4721791" y="0"/>
                </a:lnTo>
                <a:lnTo>
                  <a:pt x="4721791" y="7252498"/>
                </a:lnTo>
                <a:lnTo>
                  <a:pt x="0" y="7252498"/>
                </a:lnTo>
                <a:lnTo>
                  <a:pt x="0" y="0"/>
                </a:lnTo>
                <a:close/>
              </a:path>
            </a:pathLst>
          </a:custGeom>
          <a:blipFill>
            <a:blip r:embed="rId4"/>
            <a:stretch>
              <a:fillRect l="-1742" r="-1742"/>
            </a:stretch>
          </a:blipFill>
        </p:spPr>
        <p:txBody>
          <a:bodyPr/>
          <a:lstStyle/>
          <a:p>
            <a:pPr defTabSz="609630"/>
            <a:endParaRPr lang="en-US" sz="1200">
              <a:solidFill>
                <a:prstClr val="black"/>
              </a:solidFill>
              <a:latin typeface="Calibri"/>
            </a:endParaRPr>
          </a:p>
        </p:txBody>
      </p:sp>
      <p:sp>
        <p:nvSpPr>
          <p:cNvPr id="4" name="Freeform 4"/>
          <p:cNvSpPr/>
          <p:nvPr/>
        </p:nvSpPr>
        <p:spPr>
          <a:xfrm>
            <a:off x="4854991" y="1675076"/>
            <a:ext cx="2930018" cy="4834998"/>
          </a:xfrm>
          <a:custGeom>
            <a:avLst/>
            <a:gdLst/>
            <a:ahLst/>
            <a:cxnLst/>
            <a:rect l="l" t="t" r="r" b="b"/>
            <a:pathLst>
              <a:path w="4395027" h="7252497">
                <a:moveTo>
                  <a:pt x="0" y="0"/>
                </a:moveTo>
                <a:lnTo>
                  <a:pt x="4395027" y="0"/>
                </a:lnTo>
                <a:lnTo>
                  <a:pt x="4395027" y="7252498"/>
                </a:lnTo>
                <a:lnTo>
                  <a:pt x="0" y="7252498"/>
                </a:lnTo>
                <a:lnTo>
                  <a:pt x="0" y="0"/>
                </a:lnTo>
                <a:close/>
              </a:path>
            </a:pathLst>
          </a:custGeom>
          <a:blipFill>
            <a:blip r:embed="rId5"/>
            <a:stretch>
              <a:fillRect l="-1742" r="-22019"/>
            </a:stretch>
          </a:blipFill>
        </p:spPr>
        <p:txBody>
          <a:bodyPr/>
          <a:lstStyle/>
          <a:p>
            <a:pPr defTabSz="609630"/>
            <a:endParaRPr lang="en-US" sz="1200">
              <a:solidFill>
                <a:prstClr val="black"/>
              </a:solidFill>
              <a:latin typeface="Calibri"/>
            </a:endParaRPr>
          </a:p>
        </p:txBody>
      </p:sp>
      <p:sp>
        <p:nvSpPr>
          <p:cNvPr id="5" name="Freeform 5"/>
          <p:cNvSpPr/>
          <p:nvPr/>
        </p:nvSpPr>
        <p:spPr>
          <a:xfrm>
            <a:off x="884380" y="1675076"/>
            <a:ext cx="3595860" cy="2253283"/>
          </a:xfrm>
          <a:custGeom>
            <a:avLst/>
            <a:gdLst/>
            <a:ahLst/>
            <a:cxnLst/>
            <a:rect l="l" t="t" r="r" b="b"/>
            <a:pathLst>
              <a:path w="5393790" h="3379924">
                <a:moveTo>
                  <a:pt x="0" y="0"/>
                </a:moveTo>
                <a:lnTo>
                  <a:pt x="5393791" y="0"/>
                </a:lnTo>
                <a:lnTo>
                  <a:pt x="5393791" y="3379925"/>
                </a:lnTo>
                <a:lnTo>
                  <a:pt x="0" y="3379925"/>
                </a:lnTo>
                <a:lnTo>
                  <a:pt x="0" y="0"/>
                </a:lnTo>
                <a:close/>
              </a:path>
            </a:pathLst>
          </a:custGeom>
          <a:blipFill>
            <a:blip r:embed="rId6"/>
            <a:stretch>
              <a:fillRect t="-19687"/>
            </a:stretch>
          </a:blipFill>
        </p:spPr>
        <p:txBody>
          <a:bodyPr/>
          <a:lstStyle/>
          <a:p>
            <a:pPr defTabSz="609630"/>
            <a:endParaRPr lang="en-US" sz="1200">
              <a:solidFill>
                <a:prstClr val="black"/>
              </a:solidFill>
              <a:latin typeface="Calibri"/>
            </a:endParaRPr>
          </a:p>
        </p:txBody>
      </p:sp>
      <p:sp>
        <p:nvSpPr>
          <p:cNvPr id="6" name="TextBox 6"/>
          <p:cNvSpPr txBox="1"/>
          <p:nvPr/>
        </p:nvSpPr>
        <p:spPr>
          <a:xfrm>
            <a:off x="416976" y="812505"/>
            <a:ext cx="10820400" cy="450123"/>
          </a:xfrm>
          <a:prstGeom prst="rect">
            <a:avLst/>
          </a:prstGeom>
        </p:spPr>
        <p:txBody>
          <a:bodyPr lIns="0" tIns="0" rIns="0" bIns="0" rtlCol="0" anchor="t">
            <a:spAutoFit/>
          </a:bodyPr>
          <a:lstStyle/>
          <a:p>
            <a:pPr defTabSz="609630">
              <a:lnSpc>
                <a:spcPts val="2933"/>
              </a:lnSpc>
            </a:pPr>
            <a:r>
              <a:rPr lang="en-US" sz="5866" b="1">
                <a:solidFill>
                  <a:srgbClr val="05659C"/>
                </a:solidFill>
                <a:latin typeface="Canva Sans Bold"/>
                <a:ea typeface="Canva Sans Bold"/>
                <a:cs typeface="Canva Sans Bold"/>
                <a:sym typeface="Canva Sans Bold"/>
              </a:rPr>
              <a:t>The Opportunity</a:t>
            </a:r>
          </a:p>
        </p:txBody>
      </p:sp>
      <p:sp>
        <p:nvSpPr>
          <p:cNvPr id="7" name="TextBox 7"/>
          <p:cNvSpPr txBox="1"/>
          <p:nvPr/>
        </p:nvSpPr>
        <p:spPr>
          <a:xfrm>
            <a:off x="6936863" y="629624"/>
            <a:ext cx="4569337" cy="690638"/>
          </a:xfrm>
          <a:prstGeom prst="rect">
            <a:avLst/>
          </a:prstGeom>
        </p:spPr>
        <p:txBody>
          <a:bodyPr lIns="0" tIns="0" rIns="0" bIns="0" rtlCol="0" anchor="t">
            <a:spAutoFit/>
          </a:bodyPr>
          <a:lstStyle/>
          <a:p>
            <a:pPr defTabSz="609630">
              <a:lnSpc>
                <a:spcPts val="2773"/>
              </a:lnSpc>
            </a:pPr>
            <a:r>
              <a:rPr lang="en-US" sz="2133">
                <a:solidFill>
                  <a:srgbClr val="05659C"/>
                </a:solidFill>
                <a:latin typeface="Canva Sans"/>
                <a:ea typeface="Canva Sans"/>
                <a:cs typeface="Canva Sans"/>
                <a:sym typeface="Canva Sans"/>
              </a:rPr>
              <a:t>Connecting With Communities, Listening and Building Together</a:t>
            </a:r>
          </a:p>
        </p:txBody>
      </p:sp>
    </p:spTree>
    <p:extLst>
      <p:ext uri="{BB962C8B-B14F-4D97-AF65-F5344CB8AC3E}">
        <p14:creationId xmlns:p14="http://schemas.microsoft.com/office/powerpoint/2010/main" val="23125610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gradFill rotWithShape="1">
          <a:gsLst>
            <a:gs pos="0">
              <a:srgbClr val="318EC4">
                <a:alpha val="100000"/>
              </a:srgbClr>
            </a:gs>
            <a:gs pos="100000">
              <a:srgbClr val="05659C">
                <a:alpha val="100000"/>
              </a:srgbClr>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2" name="Freeform 2"/>
          <p:cNvSpPr/>
          <p:nvPr/>
        </p:nvSpPr>
        <p:spPr>
          <a:xfrm>
            <a:off x="2379660" y="1392055"/>
            <a:ext cx="7086325" cy="5292191"/>
          </a:xfrm>
          <a:custGeom>
            <a:avLst/>
            <a:gdLst/>
            <a:ahLst/>
            <a:cxnLst/>
            <a:rect l="l" t="t" r="r" b="b"/>
            <a:pathLst>
              <a:path w="10629487" h="7938287">
                <a:moveTo>
                  <a:pt x="0" y="0"/>
                </a:moveTo>
                <a:lnTo>
                  <a:pt x="10629486" y="0"/>
                </a:lnTo>
                <a:lnTo>
                  <a:pt x="10629486" y="7938287"/>
                </a:lnTo>
                <a:lnTo>
                  <a:pt x="0" y="7938287"/>
                </a:lnTo>
                <a:lnTo>
                  <a:pt x="0" y="0"/>
                </a:lnTo>
                <a:close/>
              </a:path>
            </a:pathLst>
          </a:custGeom>
          <a:blipFill>
            <a:blip r:embed="rId3"/>
            <a:stretch>
              <a:fillRect/>
            </a:stretch>
          </a:blipFill>
        </p:spPr>
        <p:txBody>
          <a:bodyPr/>
          <a:lstStyle/>
          <a:p>
            <a:pPr defTabSz="609630"/>
            <a:endParaRPr lang="en-US" sz="1200">
              <a:solidFill>
                <a:prstClr val="black"/>
              </a:solidFill>
              <a:latin typeface="Calibri"/>
            </a:endParaRPr>
          </a:p>
        </p:txBody>
      </p:sp>
      <p:sp>
        <p:nvSpPr>
          <p:cNvPr id="3" name="TextBox 3"/>
          <p:cNvSpPr txBox="1"/>
          <p:nvPr/>
        </p:nvSpPr>
        <p:spPr>
          <a:xfrm>
            <a:off x="416976" y="812505"/>
            <a:ext cx="10820400" cy="450123"/>
          </a:xfrm>
          <a:prstGeom prst="rect">
            <a:avLst/>
          </a:prstGeom>
        </p:spPr>
        <p:txBody>
          <a:bodyPr lIns="0" tIns="0" rIns="0" bIns="0" rtlCol="0" anchor="t">
            <a:spAutoFit/>
          </a:bodyPr>
          <a:lstStyle/>
          <a:p>
            <a:pPr defTabSz="609630">
              <a:lnSpc>
                <a:spcPts val="2933"/>
              </a:lnSpc>
            </a:pPr>
            <a:r>
              <a:rPr lang="en-US" sz="5866" b="1">
                <a:solidFill>
                  <a:srgbClr val="DFE3E5"/>
                </a:solidFill>
                <a:latin typeface="Canva Sans Bold"/>
                <a:ea typeface="Canva Sans Bold"/>
                <a:cs typeface="Canva Sans Bold"/>
                <a:sym typeface="Canva Sans Bold"/>
              </a:rPr>
              <a:t>The Necessity</a:t>
            </a:r>
          </a:p>
        </p:txBody>
      </p:sp>
      <p:sp>
        <p:nvSpPr>
          <p:cNvPr id="4" name="TextBox 4"/>
          <p:cNvSpPr txBox="1"/>
          <p:nvPr/>
        </p:nvSpPr>
        <p:spPr>
          <a:xfrm>
            <a:off x="6936863" y="629624"/>
            <a:ext cx="4569337" cy="690638"/>
          </a:xfrm>
          <a:prstGeom prst="rect">
            <a:avLst/>
          </a:prstGeom>
        </p:spPr>
        <p:txBody>
          <a:bodyPr lIns="0" tIns="0" rIns="0" bIns="0" rtlCol="0" anchor="t">
            <a:spAutoFit/>
          </a:bodyPr>
          <a:lstStyle/>
          <a:p>
            <a:pPr defTabSz="609630">
              <a:lnSpc>
                <a:spcPts val="2773"/>
              </a:lnSpc>
            </a:pPr>
            <a:r>
              <a:rPr lang="en-US" sz="2133">
                <a:solidFill>
                  <a:srgbClr val="DFE3E5"/>
                </a:solidFill>
                <a:latin typeface="Canva Sans"/>
                <a:ea typeface="Canva Sans"/>
                <a:cs typeface="Canva Sans"/>
                <a:sym typeface="Canva Sans"/>
              </a:rPr>
              <a:t>AI bridges the resource gap for Underserved communities</a:t>
            </a:r>
          </a:p>
        </p:txBody>
      </p:sp>
    </p:spTree>
    <p:extLst>
      <p:ext uri="{BB962C8B-B14F-4D97-AF65-F5344CB8AC3E}">
        <p14:creationId xmlns:p14="http://schemas.microsoft.com/office/powerpoint/2010/main" val="41444669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DFE3E5"/>
        </a:solidFill>
        <a:effectLst/>
      </p:bgPr>
    </p:bg>
    <p:spTree>
      <p:nvGrpSpPr>
        <p:cNvPr id="1" name=""/>
        <p:cNvGrpSpPr/>
        <p:nvPr/>
      </p:nvGrpSpPr>
      <p:grpSpPr>
        <a:xfrm>
          <a:off x="0" y="0"/>
          <a:ext cx="0" cy="0"/>
          <a:chOff x="0" y="0"/>
          <a:chExt cx="0" cy="0"/>
        </a:xfrm>
      </p:grpSpPr>
      <p:sp>
        <p:nvSpPr>
          <p:cNvPr id="2" name="TextBox 2"/>
          <p:cNvSpPr txBox="1"/>
          <p:nvPr/>
        </p:nvSpPr>
        <p:spPr>
          <a:xfrm>
            <a:off x="685800" y="596628"/>
            <a:ext cx="10820400" cy="897682"/>
          </a:xfrm>
          <a:prstGeom prst="rect">
            <a:avLst/>
          </a:prstGeom>
        </p:spPr>
        <p:txBody>
          <a:bodyPr lIns="0" tIns="0" rIns="0" bIns="0" rtlCol="0" anchor="t">
            <a:spAutoFit/>
          </a:bodyPr>
          <a:lstStyle/>
          <a:p>
            <a:pPr defTabSz="609630">
              <a:lnSpc>
                <a:spcPts val="7040"/>
              </a:lnSpc>
            </a:pPr>
            <a:r>
              <a:rPr lang="en-US" sz="5866" b="1">
                <a:solidFill>
                  <a:srgbClr val="05659C"/>
                </a:solidFill>
                <a:latin typeface="Canva Sans Bold"/>
                <a:ea typeface="Canva Sans Bold"/>
                <a:cs typeface="Canva Sans Bold"/>
                <a:sym typeface="Canva Sans Bold"/>
              </a:rPr>
              <a:t>Features</a:t>
            </a:r>
          </a:p>
        </p:txBody>
      </p:sp>
      <p:sp>
        <p:nvSpPr>
          <p:cNvPr id="3" name="TextBox 3"/>
          <p:cNvSpPr txBox="1"/>
          <p:nvPr/>
        </p:nvSpPr>
        <p:spPr>
          <a:xfrm>
            <a:off x="685800" y="1574528"/>
            <a:ext cx="10820400" cy="331566"/>
          </a:xfrm>
          <a:prstGeom prst="rect">
            <a:avLst/>
          </a:prstGeom>
        </p:spPr>
        <p:txBody>
          <a:bodyPr lIns="0" tIns="0" rIns="0" bIns="0" rtlCol="0" anchor="t">
            <a:spAutoFit/>
          </a:bodyPr>
          <a:lstStyle/>
          <a:p>
            <a:pPr defTabSz="609630">
              <a:lnSpc>
                <a:spcPts val="2773"/>
              </a:lnSpc>
            </a:pPr>
            <a:r>
              <a:rPr lang="en-US" sz="2133">
                <a:solidFill>
                  <a:srgbClr val="05659C"/>
                </a:solidFill>
                <a:latin typeface="Canva Sans"/>
                <a:ea typeface="Canva Sans"/>
                <a:cs typeface="Canva Sans"/>
                <a:sym typeface="Canva Sans"/>
              </a:rPr>
              <a:t>What You Can Do with </a:t>
            </a:r>
            <a:r>
              <a:rPr lang="en-US" sz="2133" err="1">
                <a:solidFill>
                  <a:srgbClr val="05659C"/>
                </a:solidFill>
                <a:latin typeface="Canva Sans"/>
                <a:ea typeface="Canva Sans"/>
                <a:cs typeface="Canva Sans"/>
                <a:sym typeface="Canva Sans"/>
              </a:rPr>
              <a:t>GrantWell</a:t>
            </a:r>
            <a:endParaRPr lang="en-US" sz="2133">
              <a:solidFill>
                <a:srgbClr val="05659C"/>
              </a:solidFill>
              <a:latin typeface="Canva Sans"/>
              <a:ea typeface="Canva Sans"/>
              <a:cs typeface="Canva Sans"/>
              <a:sym typeface="Canva Sans"/>
            </a:endParaRPr>
          </a:p>
        </p:txBody>
      </p:sp>
      <p:grpSp>
        <p:nvGrpSpPr>
          <p:cNvPr id="4" name="Group 4"/>
          <p:cNvGrpSpPr/>
          <p:nvPr/>
        </p:nvGrpSpPr>
        <p:grpSpPr>
          <a:xfrm>
            <a:off x="578774" y="2382415"/>
            <a:ext cx="5296060" cy="1661552"/>
            <a:chOff x="0" y="0"/>
            <a:chExt cx="2092271" cy="656416"/>
          </a:xfrm>
        </p:grpSpPr>
        <p:sp>
          <p:nvSpPr>
            <p:cNvPr id="5" name="Freeform 5"/>
            <p:cNvSpPr/>
            <p:nvPr/>
          </p:nvSpPr>
          <p:spPr>
            <a:xfrm>
              <a:off x="0" y="0"/>
              <a:ext cx="2092271" cy="656416"/>
            </a:xfrm>
            <a:custGeom>
              <a:avLst/>
              <a:gdLst/>
              <a:ahLst/>
              <a:cxnLst/>
              <a:rect l="l" t="t" r="r" b="b"/>
              <a:pathLst>
                <a:path w="2092271" h="656416">
                  <a:moveTo>
                    <a:pt x="48728" y="0"/>
                  </a:moveTo>
                  <a:lnTo>
                    <a:pt x="2043543" y="0"/>
                  </a:lnTo>
                  <a:cubicBezTo>
                    <a:pt x="2056466" y="0"/>
                    <a:pt x="2068860" y="5134"/>
                    <a:pt x="2077999" y="14272"/>
                  </a:cubicBezTo>
                  <a:cubicBezTo>
                    <a:pt x="2087137" y="23410"/>
                    <a:pt x="2092271" y="35804"/>
                    <a:pt x="2092271" y="48728"/>
                  </a:cubicBezTo>
                  <a:lnTo>
                    <a:pt x="2092271" y="607688"/>
                  </a:lnTo>
                  <a:cubicBezTo>
                    <a:pt x="2092271" y="620611"/>
                    <a:pt x="2087137" y="633005"/>
                    <a:pt x="2077999" y="642144"/>
                  </a:cubicBezTo>
                  <a:cubicBezTo>
                    <a:pt x="2068860" y="651282"/>
                    <a:pt x="2056466" y="656416"/>
                    <a:pt x="2043543" y="656416"/>
                  </a:cubicBezTo>
                  <a:lnTo>
                    <a:pt x="48728" y="656416"/>
                  </a:lnTo>
                  <a:cubicBezTo>
                    <a:pt x="21816" y="656416"/>
                    <a:pt x="0" y="634600"/>
                    <a:pt x="0" y="607688"/>
                  </a:cubicBezTo>
                  <a:lnTo>
                    <a:pt x="0" y="48728"/>
                  </a:lnTo>
                  <a:cubicBezTo>
                    <a:pt x="0" y="35804"/>
                    <a:pt x="5134" y="23410"/>
                    <a:pt x="14272" y="14272"/>
                  </a:cubicBezTo>
                  <a:cubicBezTo>
                    <a:pt x="23410" y="5134"/>
                    <a:pt x="35804" y="0"/>
                    <a:pt x="48728" y="0"/>
                  </a:cubicBezTo>
                  <a:close/>
                </a:path>
              </a:pathLst>
            </a:custGeom>
            <a:solidFill>
              <a:srgbClr val="FFFFFF"/>
            </a:solidFill>
            <a:ln w="38100" cap="rnd">
              <a:solidFill>
                <a:srgbClr val="05659C"/>
              </a:solidFill>
              <a:prstDash val="solid"/>
              <a:round/>
            </a:ln>
          </p:spPr>
          <p:txBody>
            <a:bodyPr/>
            <a:lstStyle/>
            <a:p>
              <a:pPr defTabSz="609630"/>
              <a:endParaRPr lang="en-US" sz="1200">
                <a:solidFill>
                  <a:prstClr val="black"/>
                </a:solidFill>
                <a:latin typeface="Calibri"/>
              </a:endParaRPr>
            </a:p>
          </p:txBody>
        </p:sp>
        <p:sp>
          <p:nvSpPr>
            <p:cNvPr id="6" name="TextBox 6"/>
            <p:cNvSpPr txBox="1"/>
            <p:nvPr/>
          </p:nvSpPr>
          <p:spPr>
            <a:xfrm>
              <a:off x="0" y="-38100"/>
              <a:ext cx="2092271" cy="694516"/>
            </a:xfrm>
            <a:prstGeom prst="rect">
              <a:avLst/>
            </a:prstGeom>
          </p:spPr>
          <p:txBody>
            <a:bodyPr lIns="33867" tIns="33867" rIns="33867" bIns="33867" rtlCol="0" anchor="ctr"/>
            <a:lstStyle/>
            <a:p>
              <a:pPr algn="ctr" defTabSz="609630">
                <a:lnSpc>
                  <a:spcPts val="3640"/>
                </a:lnSpc>
              </a:pPr>
              <a:r>
                <a:rPr lang="en-US" sz="2800" b="1">
                  <a:solidFill>
                    <a:srgbClr val="05659C"/>
                  </a:solidFill>
                  <a:latin typeface="Canva Sans Bold"/>
                  <a:ea typeface="Canva Sans Bold"/>
                  <a:cs typeface="Canva Sans Bold"/>
                  <a:sym typeface="Canva Sans Bold"/>
                </a:rPr>
                <a:t>Grant Recommendation</a:t>
              </a:r>
            </a:p>
            <a:p>
              <a:pPr algn="ctr" defTabSz="609630"/>
              <a:r>
                <a:rPr lang="en-US" sz="1600">
                  <a:solidFill>
                    <a:srgbClr val="05659C"/>
                  </a:solidFill>
                  <a:latin typeface="Canva Sans" panose="020B0604020202020204" charset="0"/>
                </a:rPr>
                <a:t>Finds grants that match with your </a:t>
              </a:r>
            </a:p>
            <a:p>
              <a:pPr algn="ctr" defTabSz="609630"/>
              <a:r>
                <a:rPr lang="en-US" sz="1600">
                  <a:solidFill>
                    <a:srgbClr val="05659C"/>
                  </a:solidFill>
                  <a:latin typeface="Canva Sans" panose="020B0604020202020204" charset="0"/>
                </a:rPr>
                <a:t>community's specific needs</a:t>
              </a:r>
              <a:endParaRPr lang="en-US" sz="1600">
                <a:solidFill>
                  <a:srgbClr val="05659C"/>
                </a:solidFill>
                <a:latin typeface="Canva Sans" panose="020B0604020202020204" charset="0"/>
                <a:sym typeface="Canva Sans Bold"/>
              </a:endParaRPr>
            </a:p>
          </p:txBody>
        </p:sp>
      </p:grpSp>
      <p:grpSp>
        <p:nvGrpSpPr>
          <p:cNvPr id="7" name="Group 7"/>
          <p:cNvGrpSpPr/>
          <p:nvPr/>
        </p:nvGrpSpPr>
        <p:grpSpPr>
          <a:xfrm>
            <a:off x="6317166" y="4510648"/>
            <a:ext cx="5296060" cy="1661552"/>
            <a:chOff x="0" y="0"/>
            <a:chExt cx="2092271" cy="656416"/>
          </a:xfrm>
        </p:grpSpPr>
        <p:sp>
          <p:nvSpPr>
            <p:cNvPr id="8" name="Freeform 8"/>
            <p:cNvSpPr/>
            <p:nvPr/>
          </p:nvSpPr>
          <p:spPr>
            <a:xfrm>
              <a:off x="0" y="0"/>
              <a:ext cx="2092271" cy="656416"/>
            </a:xfrm>
            <a:custGeom>
              <a:avLst/>
              <a:gdLst/>
              <a:ahLst/>
              <a:cxnLst/>
              <a:rect l="l" t="t" r="r" b="b"/>
              <a:pathLst>
                <a:path w="2092271" h="656416">
                  <a:moveTo>
                    <a:pt x="48728" y="0"/>
                  </a:moveTo>
                  <a:lnTo>
                    <a:pt x="2043543" y="0"/>
                  </a:lnTo>
                  <a:cubicBezTo>
                    <a:pt x="2056466" y="0"/>
                    <a:pt x="2068860" y="5134"/>
                    <a:pt x="2077999" y="14272"/>
                  </a:cubicBezTo>
                  <a:cubicBezTo>
                    <a:pt x="2087137" y="23410"/>
                    <a:pt x="2092271" y="35804"/>
                    <a:pt x="2092271" y="48728"/>
                  </a:cubicBezTo>
                  <a:lnTo>
                    <a:pt x="2092271" y="607688"/>
                  </a:lnTo>
                  <a:cubicBezTo>
                    <a:pt x="2092271" y="620611"/>
                    <a:pt x="2087137" y="633005"/>
                    <a:pt x="2077999" y="642144"/>
                  </a:cubicBezTo>
                  <a:cubicBezTo>
                    <a:pt x="2068860" y="651282"/>
                    <a:pt x="2056466" y="656416"/>
                    <a:pt x="2043543" y="656416"/>
                  </a:cubicBezTo>
                  <a:lnTo>
                    <a:pt x="48728" y="656416"/>
                  </a:lnTo>
                  <a:cubicBezTo>
                    <a:pt x="21816" y="656416"/>
                    <a:pt x="0" y="634600"/>
                    <a:pt x="0" y="607688"/>
                  </a:cubicBezTo>
                  <a:lnTo>
                    <a:pt x="0" y="48728"/>
                  </a:lnTo>
                  <a:cubicBezTo>
                    <a:pt x="0" y="35804"/>
                    <a:pt x="5134" y="23410"/>
                    <a:pt x="14272" y="14272"/>
                  </a:cubicBezTo>
                  <a:cubicBezTo>
                    <a:pt x="23410" y="5134"/>
                    <a:pt x="35804" y="0"/>
                    <a:pt x="48728" y="0"/>
                  </a:cubicBezTo>
                  <a:close/>
                </a:path>
              </a:pathLst>
            </a:custGeom>
            <a:solidFill>
              <a:srgbClr val="FFFFFF"/>
            </a:solidFill>
            <a:ln w="38100" cap="rnd">
              <a:solidFill>
                <a:srgbClr val="05659C"/>
              </a:solidFill>
              <a:prstDash val="solid"/>
              <a:round/>
            </a:ln>
          </p:spPr>
          <p:txBody>
            <a:bodyPr/>
            <a:lstStyle/>
            <a:p>
              <a:pPr defTabSz="609630"/>
              <a:endParaRPr lang="en-US" sz="1200">
                <a:solidFill>
                  <a:prstClr val="black"/>
                </a:solidFill>
                <a:latin typeface="Calibri"/>
              </a:endParaRPr>
            </a:p>
          </p:txBody>
        </p:sp>
        <p:sp>
          <p:nvSpPr>
            <p:cNvPr id="9" name="TextBox 9"/>
            <p:cNvSpPr txBox="1"/>
            <p:nvPr/>
          </p:nvSpPr>
          <p:spPr>
            <a:xfrm>
              <a:off x="0" y="-38100"/>
              <a:ext cx="2092271" cy="694516"/>
            </a:xfrm>
            <a:prstGeom prst="rect">
              <a:avLst/>
            </a:prstGeom>
          </p:spPr>
          <p:txBody>
            <a:bodyPr lIns="33867" tIns="33867" rIns="33867" bIns="33867" rtlCol="0" anchor="ctr"/>
            <a:lstStyle/>
            <a:p>
              <a:pPr algn="ctr" defTabSz="609630">
                <a:lnSpc>
                  <a:spcPts val="3640"/>
                </a:lnSpc>
              </a:pPr>
              <a:r>
                <a:rPr lang="en-US" sz="2800" b="1">
                  <a:solidFill>
                    <a:srgbClr val="05659C"/>
                  </a:solidFill>
                  <a:latin typeface="Canva Sans Bold"/>
                  <a:ea typeface="Canva Sans Bold"/>
                  <a:cs typeface="Canva Sans Bold"/>
                  <a:sym typeface="Canva Sans Bold"/>
                </a:rPr>
                <a:t>Context Aware Chatbot</a:t>
              </a:r>
            </a:p>
            <a:p>
              <a:pPr algn="ctr" defTabSz="609630"/>
              <a:r>
                <a:rPr lang="en-US" sz="1600">
                  <a:solidFill>
                    <a:srgbClr val="05659C"/>
                  </a:solidFill>
                  <a:latin typeface="Canva Sans" panose="020B0604020202020204" charset="0"/>
                </a:rPr>
                <a:t>Allows users to ask questions about </a:t>
              </a:r>
            </a:p>
            <a:p>
              <a:pPr algn="ctr" defTabSz="609630"/>
              <a:r>
                <a:rPr lang="en-US" sz="1600">
                  <a:solidFill>
                    <a:srgbClr val="05659C"/>
                  </a:solidFill>
                  <a:latin typeface="Canva Sans" panose="020B0604020202020204" charset="0"/>
                </a:rPr>
                <a:t>requirements, and provides answers​</a:t>
              </a:r>
            </a:p>
          </p:txBody>
        </p:sp>
      </p:grpSp>
      <p:grpSp>
        <p:nvGrpSpPr>
          <p:cNvPr id="10" name="Group 10"/>
          <p:cNvGrpSpPr/>
          <p:nvPr/>
        </p:nvGrpSpPr>
        <p:grpSpPr>
          <a:xfrm>
            <a:off x="578774" y="4510648"/>
            <a:ext cx="5296060" cy="1661552"/>
            <a:chOff x="0" y="0"/>
            <a:chExt cx="2092271" cy="656416"/>
          </a:xfrm>
        </p:grpSpPr>
        <p:sp>
          <p:nvSpPr>
            <p:cNvPr id="11" name="Freeform 11"/>
            <p:cNvSpPr/>
            <p:nvPr/>
          </p:nvSpPr>
          <p:spPr>
            <a:xfrm>
              <a:off x="0" y="0"/>
              <a:ext cx="2092271" cy="656416"/>
            </a:xfrm>
            <a:custGeom>
              <a:avLst/>
              <a:gdLst/>
              <a:ahLst/>
              <a:cxnLst/>
              <a:rect l="l" t="t" r="r" b="b"/>
              <a:pathLst>
                <a:path w="2092271" h="656416">
                  <a:moveTo>
                    <a:pt x="48728" y="0"/>
                  </a:moveTo>
                  <a:lnTo>
                    <a:pt x="2043543" y="0"/>
                  </a:lnTo>
                  <a:cubicBezTo>
                    <a:pt x="2056466" y="0"/>
                    <a:pt x="2068860" y="5134"/>
                    <a:pt x="2077999" y="14272"/>
                  </a:cubicBezTo>
                  <a:cubicBezTo>
                    <a:pt x="2087137" y="23410"/>
                    <a:pt x="2092271" y="35804"/>
                    <a:pt x="2092271" y="48728"/>
                  </a:cubicBezTo>
                  <a:lnTo>
                    <a:pt x="2092271" y="607688"/>
                  </a:lnTo>
                  <a:cubicBezTo>
                    <a:pt x="2092271" y="620611"/>
                    <a:pt x="2087137" y="633005"/>
                    <a:pt x="2077999" y="642144"/>
                  </a:cubicBezTo>
                  <a:cubicBezTo>
                    <a:pt x="2068860" y="651282"/>
                    <a:pt x="2056466" y="656416"/>
                    <a:pt x="2043543" y="656416"/>
                  </a:cubicBezTo>
                  <a:lnTo>
                    <a:pt x="48728" y="656416"/>
                  </a:lnTo>
                  <a:cubicBezTo>
                    <a:pt x="21816" y="656416"/>
                    <a:pt x="0" y="634600"/>
                    <a:pt x="0" y="607688"/>
                  </a:cubicBezTo>
                  <a:lnTo>
                    <a:pt x="0" y="48728"/>
                  </a:lnTo>
                  <a:cubicBezTo>
                    <a:pt x="0" y="35804"/>
                    <a:pt x="5134" y="23410"/>
                    <a:pt x="14272" y="14272"/>
                  </a:cubicBezTo>
                  <a:cubicBezTo>
                    <a:pt x="23410" y="5134"/>
                    <a:pt x="35804" y="0"/>
                    <a:pt x="48728" y="0"/>
                  </a:cubicBezTo>
                  <a:close/>
                </a:path>
              </a:pathLst>
            </a:custGeom>
            <a:solidFill>
              <a:srgbClr val="FFFFFF"/>
            </a:solidFill>
            <a:ln w="38100" cap="rnd">
              <a:solidFill>
                <a:srgbClr val="05659C"/>
              </a:solidFill>
              <a:prstDash val="solid"/>
              <a:round/>
            </a:ln>
          </p:spPr>
          <p:txBody>
            <a:bodyPr/>
            <a:lstStyle/>
            <a:p>
              <a:pPr defTabSz="609630"/>
              <a:endParaRPr lang="en-US" sz="1200">
                <a:solidFill>
                  <a:prstClr val="black"/>
                </a:solidFill>
                <a:latin typeface="Calibri"/>
              </a:endParaRPr>
            </a:p>
          </p:txBody>
        </p:sp>
        <p:sp>
          <p:nvSpPr>
            <p:cNvPr id="12" name="TextBox 12"/>
            <p:cNvSpPr txBox="1"/>
            <p:nvPr/>
          </p:nvSpPr>
          <p:spPr>
            <a:xfrm>
              <a:off x="0" y="-38100"/>
              <a:ext cx="2092271" cy="694516"/>
            </a:xfrm>
            <a:prstGeom prst="rect">
              <a:avLst/>
            </a:prstGeom>
          </p:spPr>
          <p:txBody>
            <a:bodyPr lIns="33867" tIns="33867" rIns="33867" bIns="33867" rtlCol="0" anchor="ctr"/>
            <a:lstStyle/>
            <a:p>
              <a:pPr algn="ctr" defTabSz="609630">
                <a:lnSpc>
                  <a:spcPts val="3640"/>
                </a:lnSpc>
              </a:pPr>
              <a:r>
                <a:rPr lang="en-US" sz="2800" b="1">
                  <a:solidFill>
                    <a:srgbClr val="05659C"/>
                  </a:solidFill>
                  <a:latin typeface="Canva Sans Bold"/>
                  <a:ea typeface="Canva Sans Bold"/>
                  <a:cs typeface="Canva Sans Bold"/>
                  <a:sym typeface="Canva Sans Bold"/>
                </a:rPr>
                <a:t>AI-Guided Grant Writing</a:t>
              </a:r>
            </a:p>
            <a:p>
              <a:pPr algn="ctr" defTabSz="609630"/>
              <a:r>
                <a:rPr lang="en-US" sz="1600">
                  <a:solidFill>
                    <a:srgbClr val="05659C"/>
                  </a:solidFill>
                  <a:latin typeface="Canva Sans" panose="020B0604020202020204" charset="0"/>
                </a:rPr>
                <a:t>Verifies applicant eligibility​ and</a:t>
              </a:r>
            </a:p>
            <a:p>
              <a:pPr algn="ctr" defTabSz="609630"/>
              <a:r>
                <a:rPr lang="en-US" sz="1600">
                  <a:solidFill>
                    <a:srgbClr val="05659C"/>
                  </a:solidFill>
                  <a:latin typeface="Canva Sans" panose="020B0604020202020204" charset="0"/>
                </a:rPr>
                <a:t>provides guidance on application writing</a:t>
              </a:r>
              <a:r>
                <a:rPr lang="en-US" sz="1200">
                  <a:solidFill>
                    <a:prstClr val="black"/>
                  </a:solidFill>
                  <a:latin typeface="Calibri"/>
                </a:rPr>
                <a:t>​</a:t>
              </a:r>
            </a:p>
          </p:txBody>
        </p:sp>
      </p:grpSp>
      <p:grpSp>
        <p:nvGrpSpPr>
          <p:cNvPr id="13" name="Group 13"/>
          <p:cNvGrpSpPr/>
          <p:nvPr/>
        </p:nvGrpSpPr>
        <p:grpSpPr>
          <a:xfrm>
            <a:off x="6317166" y="2382415"/>
            <a:ext cx="5296060" cy="1661552"/>
            <a:chOff x="0" y="0"/>
            <a:chExt cx="2092271" cy="656416"/>
          </a:xfrm>
        </p:grpSpPr>
        <p:sp>
          <p:nvSpPr>
            <p:cNvPr id="14" name="Freeform 14"/>
            <p:cNvSpPr/>
            <p:nvPr/>
          </p:nvSpPr>
          <p:spPr>
            <a:xfrm>
              <a:off x="0" y="0"/>
              <a:ext cx="2092271" cy="656416"/>
            </a:xfrm>
            <a:custGeom>
              <a:avLst/>
              <a:gdLst/>
              <a:ahLst/>
              <a:cxnLst/>
              <a:rect l="l" t="t" r="r" b="b"/>
              <a:pathLst>
                <a:path w="2092271" h="656416">
                  <a:moveTo>
                    <a:pt x="48728" y="0"/>
                  </a:moveTo>
                  <a:lnTo>
                    <a:pt x="2043543" y="0"/>
                  </a:lnTo>
                  <a:cubicBezTo>
                    <a:pt x="2056466" y="0"/>
                    <a:pt x="2068860" y="5134"/>
                    <a:pt x="2077999" y="14272"/>
                  </a:cubicBezTo>
                  <a:cubicBezTo>
                    <a:pt x="2087137" y="23410"/>
                    <a:pt x="2092271" y="35804"/>
                    <a:pt x="2092271" y="48728"/>
                  </a:cubicBezTo>
                  <a:lnTo>
                    <a:pt x="2092271" y="607688"/>
                  </a:lnTo>
                  <a:cubicBezTo>
                    <a:pt x="2092271" y="620611"/>
                    <a:pt x="2087137" y="633005"/>
                    <a:pt x="2077999" y="642144"/>
                  </a:cubicBezTo>
                  <a:cubicBezTo>
                    <a:pt x="2068860" y="651282"/>
                    <a:pt x="2056466" y="656416"/>
                    <a:pt x="2043543" y="656416"/>
                  </a:cubicBezTo>
                  <a:lnTo>
                    <a:pt x="48728" y="656416"/>
                  </a:lnTo>
                  <a:cubicBezTo>
                    <a:pt x="21816" y="656416"/>
                    <a:pt x="0" y="634600"/>
                    <a:pt x="0" y="607688"/>
                  </a:cubicBezTo>
                  <a:lnTo>
                    <a:pt x="0" y="48728"/>
                  </a:lnTo>
                  <a:cubicBezTo>
                    <a:pt x="0" y="35804"/>
                    <a:pt x="5134" y="23410"/>
                    <a:pt x="14272" y="14272"/>
                  </a:cubicBezTo>
                  <a:cubicBezTo>
                    <a:pt x="23410" y="5134"/>
                    <a:pt x="35804" y="0"/>
                    <a:pt x="48728" y="0"/>
                  </a:cubicBezTo>
                  <a:close/>
                </a:path>
              </a:pathLst>
            </a:custGeom>
            <a:solidFill>
              <a:srgbClr val="FFFFFF"/>
            </a:solidFill>
            <a:ln w="38100" cap="rnd">
              <a:solidFill>
                <a:srgbClr val="05659C"/>
              </a:solidFill>
              <a:prstDash val="solid"/>
              <a:round/>
            </a:ln>
          </p:spPr>
          <p:txBody>
            <a:bodyPr/>
            <a:lstStyle/>
            <a:p>
              <a:pPr defTabSz="609630"/>
              <a:endParaRPr lang="en-US" sz="1200">
                <a:solidFill>
                  <a:prstClr val="black"/>
                </a:solidFill>
                <a:latin typeface="Calibri"/>
              </a:endParaRPr>
            </a:p>
          </p:txBody>
        </p:sp>
        <p:sp>
          <p:nvSpPr>
            <p:cNvPr id="15" name="TextBox 15"/>
            <p:cNvSpPr txBox="1"/>
            <p:nvPr/>
          </p:nvSpPr>
          <p:spPr>
            <a:xfrm>
              <a:off x="0" y="-38100"/>
              <a:ext cx="2092271" cy="694516"/>
            </a:xfrm>
            <a:prstGeom prst="rect">
              <a:avLst/>
            </a:prstGeom>
          </p:spPr>
          <p:txBody>
            <a:bodyPr lIns="33867" tIns="33867" rIns="33867" bIns="33867" rtlCol="0" anchor="ctr"/>
            <a:lstStyle/>
            <a:p>
              <a:pPr algn="ctr" defTabSz="609630">
                <a:lnSpc>
                  <a:spcPts val="3640"/>
                </a:lnSpc>
              </a:pPr>
              <a:r>
                <a:rPr lang="en-US" sz="2800" b="1">
                  <a:solidFill>
                    <a:srgbClr val="05659C"/>
                  </a:solidFill>
                  <a:latin typeface="Canva Sans Bold"/>
                  <a:ea typeface="Canva Sans Bold"/>
                  <a:cs typeface="Canva Sans Bold"/>
                  <a:sym typeface="Canva Sans Bold"/>
                </a:rPr>
                <a:t>NOFO Summarization</a:t>
              </a:r>
            </a:p>
            <a:p>
              <a:pPr algn="ctr" defTabSz="609630"/>
              <a:r>
                <a:rPr lang="en-US" sz="1600">
                  <a:solidFill>
                    <a:srgbClr val="05659C"/>
                  </a:solidFill>
                  <a:latin typeface="Canva Sans" panose="020B0604020202020204" charset="0"/>
                </a:rPr>
                <a:t>Transforms complex grant documents </a:t>
              </a:r>
            </a:p>
            <a:p>
              <a:pPr algn="ctr" defTabSz="609630"/>
              <a:r>
                <a:rPr lang="en-US" sz="1600">
                  <a:solidFill>
                    <a:srgbClr val="05659C"/>
                  </a:solidFill>
                  <a:latin typeface="Canva Sans" panose="020B0604020202020204" charset="0"/>
                </a:rPr>
                <a:t>into clear summaries​</a:t>
              </a:r>
            </a:p>
          </p:txBody>
        </p:sp>
      </p:grpSp>
    </p:spTree>
    <p:extLst>
      <p:ext uri="{BB962C8B-B14F-4D97-AF65-F5344CB8AC3E}">
        <p14:creationId xmlns:p14="http://schemas.microsoft.com/office/powerpoint/2010/main" val="34928251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DFE3E5"/>
        </a:solidFill>
        <a:effectLst/>
      </p:bgPr>
    </p:bg>
    <p:spTree>
      <p:nvGrpSpPr>
        <p:cNvPr id="1" name=""/>
        <p:cNvGrpSpPr/>
        <p:nvPr/>
      </p:nvGrpSpPr>
      <p:grpSpPr>
        <a:xfrm>
          <a:off x="0" y="0"/>
          <a:ext cx="0" cy="0"/>
          <a:chOff x="0" y="0"/>
          <a:chExt cx="0" cy="0"/>
        </a:xfrm>
      </p:grpSpPr>
      <p:pic>
        <p:nvPicPr>
          <p:cNvPr id="3" name="GrantWell_Demo_30">
            <a:hlinkClick r:id="" action="ppaction://media"/>
            <a:extLst>
              <a:ext uri="{FF2B5EF4-FFF2-40B4-BE49-F238E27FC236}">
                <a16:creationId xmlns:a16="http://schemas.microsoft.com/office/drawing/2014/main" id="{88B1191E-F750-457D-3F14-D53EC546DA8B}"/>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639" y="190936"/>
            <a:ext cx="12190361" cy="6476129"/>
          </a:xfrm>
          <a:prstGeom prst="rect">
            <a:avLst/>
          </a:prstGeom>
        </p:spPr>
      </p:pic>
    </p:spTree>
    <p:extLst>
      <p:ext uri="{BB962C8B-B14F-4D97-AF65-F5344CB8AC3E}">
        <p14:creationId xmlns:p14="http://schemas.microsoft.com/office/powerpoint/2010/main" val="734419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8762"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gradFill rotWithShape="1">
          <a:gsLst>
            <a:gs pos="0">
              <a:srgbClr val="318EC4">
                <a:alpha val="100000"/>
              </a:srgbClr>
            </a:gs>
            <a:gs pos="100000">
              <a:srgbClr val="05659C">
                <a:alpha val="100000"/>
              </a:srgbClr>
            </a:gs>
          </a:gsLst>
          <a:lin ang="0"/>
        </a:gradFill>
        <a:effectLst/>
      </p:bgPr>
    </p:bg>
    <p:spTree>
      <p:nvGrpSpPr>
        <p:cNvPr id="1" name=""/>
        <p:cNvGrpSpPr/>
        <p:nvPr/>
      </p:nvGrpSpPr>
      <p:grpSpPr>
        <a:xfrm>
          <a:off x="0" y="0"/>
          <a:ext cx="0" cy="0"/>
          <a:chOff x="0" y="0"/>
          <a:chExt cx="0" cy="0"/>
        </a:xfrm>
      </p:grpSpPr>
      <p:sp>
        <p:nvSpPr>
          <p:cNvPr id="2" name="TextBox 2"/>
          <p:cNvSpPr txBox="1"/>
          <p:nvPr/>
        </p:nvSpPr>
        <p:spPr>
          <a:xfrm>
            <a:off x="2550222" y="2477149"/>
            <a:ext cx="7091557" cy="1324593"/>
          </a:xfrm>
          <a:prstGeom prst="rect">
            <a:avLst/>
          </a:prstGeom>
        </p:spPr>
        <p:txBody>
          <a:bodyPr lIns="0" tIns="0" rIns="0" bIns="0" rtlCol="0" anchor="t">
            <a:spAutoFit/>
          </a:bodyPr>
          <a:lstStyle/>
          <a:p>
            <a:pPr algn="ctr" defTabSz="609630">
              <a:lnSpc>
                <a:spcPts val="10960"/>
              </a:lnSpc>
            </a:pPr>
            <a:r>
              <a:rPr lang="en-US" sz="9133" b="1">
                <a:solidFill>
                  <a:srgbClr val="FFFFFF"/>
                </a:solidFill>
                <a:latin typeface="Canva Sans Bold"/>
                <a:ea typeface="Canva Sans Bold"/>
                <a:cs typeface="Canva Sans Bold"/>
                <a:sym typeface="Canva Sans Bold"/>
              </a:rPr>
              <a:t>Thank You!</a:t>
            </a:r>
          </a:p>
        </p:txBody>
      </p:sp>
    </p:spTree>
    <p:extLst>
      <p:ext uri="{BB962C8B-B14F-4D97-AF65-F5344CB8AC3E}">
        <p14:creationId xmlns:p14="http://schemas.microsoft.com/office/powerpoint/2010/main" val="10513470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3C47C22-3743-52E6-ADDD-5698C345DB67}"/>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FF1F327E-F9AB-1F45-D92B-CFE35EE1CE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A0B6238E-9CD5-22AE-CFEA-86E7647AB4D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87826B62-FB1F-CA25-A2F5-6D3E1A3A1C6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E6E25267-780C-BC18-1D1B-5B66663D84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AD902F7E-BA1E-AB5C-1EA6-3401E47CEF6A}"/>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Questions?</a:t>
            </a:r>
          </a:p>
        </p:txBody>
      </p:sp>
      <p:sp>
        <p:nvSpPr>
          <p:cNvPr id="32" name="Rectangle 31">
            <a:extLst>
              <a:ext uri="{FF2B5EF4-FFF2-40B4-BE49-F238E27FC236}">
                <a16:creationId xmlns:a16="http://schemas.microsoft.com/office/drawing/2014/main" id="{A12CE9FA-F383-9F69-20D8-0F29A18A03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783730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1168182" y="371917"/>
            <a:ext cx="9720072" cy="1499616"/>
          </a:xfrm>
        </p:spPr>
        <p:txBody>
          <a:bodyPr vert="horz" lIns="91440" tIns="45720" rIns="91440" bIns="45720" rtlCol="0" anchor="ctr">
            <a:noAutofit/>
          </a:bodyPr>
          <a:lstStyle/>
          <a:p>
            <a:pPr algn="ctr"/>
            <a:r>
              <a:rPr lang="en-US" sz="7200"/>
              <a:t>Municipal needs survey</a:t>
            </a:r>
            <a:endParaRPr lang="en-US" sz="2400"/>
          </a:p>
        </p:txBody>
      </p:sp>
      <p:sp>
        <p:nvSpPr>
          <p:cNvPr id="4" name="Text Placeholder 3">
            <a:extLst>
              <a:ext uri="{FF2B5EF4-FFF2-40B4-BE49-F238E27FC236}">
                <a16:creationId xmlns:a16="http://schemas.microsoft.com/office/drawing/2014/main" id="{B5CFEDE8-2F1D-DC67-361A-BB38DBDA43FE}"/>
              </a:ext>
            </a:extLst>
          </p:cNvPr>
          <p:cNvSpPr>
            <a:spLocks noGrp="1"/>
          </p:cNvSpPr>
          <p:nvPr>
            <p:ph type="body" idx="1"/>
          </p:nvPr>
        </p:nvSpPr>
        <p:spPr>
          <a:xfrm>
            <a:off x="897732" y="1871533"/>
            <a:ext cx="5900063" cy="3549708"/>
          </a:xfrm>
        </p:spPr>
        <p:txBody>
          <a:bodyPr>
            <a:normAutofit/>
          </a:bodyPr>
          <a:lstStyle/>
          <a:p>
            <a:r>
              <a:rPr lang="en-US" sz="2800" b="1"/>
              <a:t>Please take 5 minutes to fill out this form and help us learn more about how our office can support you to best leverage available and upcoming federal funding opportunities! You can also click </a:t>
            </a:r>
            <a:r>
              <a:rPr lang="en-US" sz="2800" b="1">
                <a:hlinkClick r:id="rId3"/>
              </a:rPr>
              <a:t>here</a:t>
            </a:r>
            <a:r>
              <a:rPr lang="en-US" sz="2800" b="1"/>
              <a:t>.</a:t>
            </a:r>
          </a:p>
        </p:txBody>
      </p:sp>
      <p:sp>
        <p:nvSpPr>
          <p:cNvPr id="9" name="Rectangle 8">
            <a:extLst>
              <a:ext uri="{FF2B5EF4-FFF2-40B4-BE49-F238E27FC236}">
                <a16:creationId xmlns:a16="http://schemas.microsoft.com/office/drawing/2014/main" id="{3F5EDDBA-8D94-FEFE-2099-EC25227C992A}"/>
              </a:ext>
            </a:extLst>
          </p:cNvPr>
          <p:cNvSpPr/>
          <p:nvPr/>
        </p:nvSpPr>
        <p:spPr>
          <a:xfrm>
            <a:off x="7523544" y="1756063"/>
            <a:ext cx="4309230" cy="4621587"/>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6" name="Picture 5" descr="A qr code on a white background&#10;&#10;Description automatically generated">
            <a:extLst>
              <a:ext uri="{FF2B5EF4-FFF2-40B4-BE49-F238E27FC236}">
                <a16:creationId xmlns:a16="http://schemas.microsoft.com/office/drawing/2014/main" id="{582481FE-B35C-47F1-BD27-496FB57B0C7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62273" y="2208705"/>
            <a:ext cx="3831772" cy="3831772"/>
          </a:xfrm>
          <a:prstGeom prst="rect">
            <a:avLst/>
          </a:prstGeom>
        </p:spPr>
      </p:pic>
    </p:spTree>
    <p:extLst>
      <p:ext uri="{BB962C8B-B14F-4D97-AF65-F5344CB8AC3E}">
        <p14:creationId xmlns:p14="http://schemas.microsoft.com/office/powerpoint/2010/main" val="18550442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F7422F06-6017-4361-8872-E0E2CEB20B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4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E7C586B0-AF86-A515-AEE0-C8269027D96C}"/>
              </a:ext>
            </a:extLst>
          </p:cNvPr>
          <p:cNvSpPr>
            <a:spLocks noGrp="1"/>
          </p:cNvSpPr>
          <p:nvPr>
            <p:ph type="title"/>
          </p:nvPr>
        </p:nvSpPr>
        <p:spPr>
          <a:xfrm>
            <a:off x="643468" y="643467"/>
            <a:ext cx="3415612" cy="5571066"/>
          </a:xfrm>
        </p:spPr>
        <p:txBody>
          <a:bodyPr>
            <a:normAutofit/>
          </a:bodyPr>
          <a:lstStyle/>
          <a:p>
            <a:r>
              <a:rPr lang="en-US">
                <a:solidFill>
                  <a:srgbClr val="FFFFFF"/>
                </a:solidFill>
              </a:rPr>
              <a:t>Agenda</a:t>
            </a:r>
          </a:p>
        </p:txBody>
      </p:sp>
      <p:graphicFrame>
        <p:nvGraphicFramePr>
          <p:cNvPr id="4" name="Content Placeholder 2">
            <a:extLst>
              <a:ext uri="{FF2B5EF4-FFF2-40B4-BE49-F238E27FC236}">
                <a16:creationId xmlns:a16="http://schemas.microsoft.com/office/drawing/2014/main" id="{BCAF1A5D-AAF4-A5C2-F609-471FBC3134D9}"/>
              </a:ext>
            </a:extLst>
          </p:cNvPr>
          <p:cNvGraphicFramePr>
            <a:graphicFrameLocks/>
          </p:cNvGraphicFramePr>
          <p:nvPr>
            <p:extLst>
              <p:ext uri="{D42A27DB-BD31-4B8C-83A1-F6EECF244321}">
                <p14:modId xmlns:p14="http://schemas.microsoft.com/office/powerpoint/2010/main" val="3742847141"/>
              </p:ext>
            </p:extLst>
          </p:nvPr>
        </p:nvGraphicFramePr>
        <p:xfrm>
          <a:off x="4991016" y="213632"/>
          <a:ext cx="7066273" cy="64381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269955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F3788A7-E47C-B5CE-4257-1F649836DE48}"/>
              </a:ext>
            </a:extLst>
          </p:cNvPr>
          <p:cNvSpPr txBox="1"/>
          <p:nvPr/>
        </p:nvSpPr>
        <p:spPr>
          <a:xfrm>
            <a:off x="257140" y="296983"/>
            <a:ext cx="2980735" cy="2677656"/>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1CADE4"/>
                </a:solidFill>
                <a:effectLst/>
                <a:uLnTx/>
                <a:uFillTx/>
                <a:latin typeface="Tw Cen MT" panose="020B0602020104020603"/>
                <a:ea typeface="+mn-ea"/>
                <a:cs typeface="+mn-cs"/>
              </a:rPr>
              <a:t>Please join us for our office hours, bring your questions, and discuss priority projects! </a:t>
            </a:r>
            <a:endParaRPr kumimoji="0" lang="en-US" sz="2800" b="1" i="0" u="none" strike="noStrike" kern="1200" cap="none" spc="0" normalizeH="0" baseline="0" noProof="0">
              <a:ln>
                <a:noFill/>
              </a:ln>
              <a:solidFill>
                <a:srgbClr val="1CADE4"/>
              </a:solidFill>
              <a:effectLst/>
              <a:highlight>
                <a:srgbClr val="FFFF00"/>
              </a:highlight>
              <a:uLnTx/>
              <a:uFillTx/>
              <a:latin typeface="Tw Cen MT" panose="020B0602020104020603"/>
              <a:ea typeface="+mn-ea"/>
              <a:cs typeface="+mn-cs"/>
            </a:endParaRPr>
          </a:p>
        </p:txBody>
      </p:sp>
      <p:sp>
        <p:nvSpPr>
          <p:cNvPr id="7" name="Title 1">
            <a:extLst>
              <a:ext uri="{FF2B5EF4-FFF2-40B4-BE49-F238E27FC236}">
                <a16:creationId xmlns:a16="http://schemas.microsoft.com/office/drawing/2014/main" id="{134FC3F4-DAD6-738E-34C0-657016163671}"/>
              </a:ext>
            </a:extLst>
          </p:cNvPr>
          <p:cNvSpPr txBox="1">
            <a:spLocks/>
          </p:cNvSpPr>
          <p:nvPr/>
        </p:nvSpPr>
        <p:spPr>
          <a:xfrm>
            <a:off x="4144888" y="4431691"/>
            <a:ext cx="2877556" cy="287650"/>
          </a:xfrm>
          <a:prstGeom prst="rect">
            <a:avLst/>
          </a:prstGeom>
        </p:spPr>
        <p:txBody>
          <a:bodyPr vert="horz" lIns="91440" tIns="45720" rIns="91440" bIns="45720" rtlCol="0" anchor="ctr">
            <a:no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6600" b="0" i="0" u="none" strike="noStrike" kern="1200" cap="all" spc="100" normalizeH="0" baseline="0" noProof="0">
                <a:ln>
                  <a:noFill/>
                </a:ln>
                <a:solidFill>
                  <a:prstClr val="black"/>
                </a:solidFill>
                <a:effectLst/>
                <a:uLnTx/>
                <a:uFillTx/>
                <a:latin typeface="Tw Cen MT Condensed" panose="020B0606020104020203"/>
                <a:ea typeface="+mj-ea"/>
                <a:cs typeface="+mj-cs"/>
              </a:rPr>
              <a:t>Office hours</a:t>
            </a:r>
            <a:endParaRPr kumimoji="0" lang="en-US" sz="2000" b="0" i="0" u="none" strike="noStrike" kern="1200" cap="all" spc="100" normalizeH="0" baseline="0" noProof="0">
              <a:ln>
                <a:noFill/>
              </a:ln>
              <a:solidFill>
                <a:prstClr val="black"/>
              </a:solidFill>
              <a:effectLst/>
              <a:uLnTx/>
              <a:uFillTx/>
              <a:latin typeface="Tw Cen MT Condensed" panose="020B0606020104020203"/>
              <a:ea typeface="+mj-ea"/>
              <a:cs typeface="+mj-cs"/>
            </a:endParaRPr>
          </a:p>
        </p:txBody>
      </p:sp>
      <p:pic>
        <p:nvPicPr>
          <p:cNvPr id="8" name="Graphic 7" descr="Meeting outline">
            <a:extLst>
              <a:ext uri="{FF2B5EF4-FFF2-40B4-BE49-F238E27FC236}">
                <a16:creationId xmlns:a16="http://schemas.microsoft.com/office/drawing/2014/main" id="{CCCCF25A-2A8A-9F0F-E7CE-C6B19E67136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27641" y="772975"/>
            <a:ext cx="5312050" cy="5312050"/>
          </a:xfrm>
          <a:prstGeom prst="rect">
            <a:avLst/>
          </a:prstGeom>
        </p:spPr>
      </p:pic>
      <p:sp>
        <p:nvSpPr>
          <p:cNvPr id="23" name="TextBox 22">
            <a:extLst>
              <a:ext uri="{FF2B5EF4-FFF2-40B4-BE49-F238E27FC236}">
                <a16:creationId xmlns:a16="http://schemas.microsoft.com/office/drawing/2014/main" id="{CE3408A6-3D3D-C3C8-66DB-717F76F266B6}"/>
              </a:ext>
            </a:extLst>
          </p:cNvPr>
          <p:cNvSpPr txBox="1"/>
          <p:nvPr/>
        </p:nvSpPr>
        <p:spPr>
          <a:xfrm>
            <a:off x="9356963" y="1193977"/>
            <a:ext cx="2656786" cy="138499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683C6"/>
                </a:solidFill>
                <a:effectLst/>
                <a:uLnTx/>
                <a:uFillTx/>
                <a:latin typeface="Tw Cen MT" panose="020B0602020104020603"/>
                <a:ea typeface="+mn-ea"/>
                <a:cs typeface="+mn-cs"/>
              </a:rPr>
              <a:t>FFIO Technical Assistance Programs</a:t>
            </a:r>
            <a:endParaRPr kumimoji="0" lang="en-US" sz="2800" b="1" i="0" u="none" strike="noStrike" kern="1200" cap="none" spc="0" normalizeH="0" baseline="0" noProof="0">
              <a:ln>
                <a:noFill/>
              </a:ln>
              <a:solidFill>
                <a:srgbClr val="2683C6"/>
              </a:solidFill>
              <a:effectLst/>
              <a:highlight>
                <a:srgbClr val="FFFF00"/>
              </a:highlight>
              <a:uLnTx/>
              <a:uFillTx/>
              <a:latin typeface="Tw Cen MT" panose="020B0602020104020603"/>
              <a:ea typeface="+mn-ea"/>
              <a:cs typeface="+mn-cs"/>
            </a:endParaRPr>
          </a:p>
        </p:txBody>
      </p:sp>
      <p:sp>
        <p:nvSpPr>
          <p:cNvPr id="27" name="TextBox 26">
            <a:extLst>
              <a:ext uri="{FF2B5EF4-FFF2-40B4-BE49-F238E27FC236}">
                <a16:creationId xmlns:a16="http://schemas.microsoft.com/office/drawing/2014/main" id="{898DE8B0-12D1-D134-F268-16B7F60CA029}"/>
              </a:ext>
            </a:extLst>
          </p:cNvPr>
          <p:cNvSpPr txBox="1"/>
          <p:nvPr/>
        </p:nvSpPr>
        <p:spPr>
          <a:xfrm>
            <a:off x="9408872" y="3478887"/>
            <a:ext cx="2552968" cy="5232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err="1">
                <a:ln>
                  <a:noFill/>
                </a:ln>
                <a:solidFill>
                  <a:srgbClr val="2683C6"/>
                </a:solidFill>
                <a:effectLst/>
                <a:uLnTx/>
                <a:uFillTx/>
                <a:latin typeface="Tw Cen MT" panose="020B0602020104020603"/>
                <a:ea typeface="+mn-ea"/>
                <a:cs typeface="+mn-cs"/>
              </a:rPr>
              <a:t>GrantWell</a:t>
            </a:r>
            <a:endParaRPr kumimoji="0" lang="en-US" sz="2800" b="1" i="0" u="none" strike="noStrike" kern="1200" cap="none" spc="0" normalizeH="0" baseline="0" noProof="0">
              <a:ln>
                <a:noFill/>
              </a:ln>
              <a:solidFill>
                <a:srgbClr val="2683C6"/>
              </a:solidFill>
              <a:effectLst/>
              <a:uLnTx/>
              <a:uFillTx/>
              <a:latin typeface="Tw Cen MT" panose="020B0602020104020603"/>
              <a:ea typeface="+mn-ea"/>
              <a:cs typeface="+mn-cs"/>
            </a:endParaRPr>
          </a:p>
        </p:txBody>
      </p:sp>
      <p:sp>
        <p:nvSpPr>
          <p:cNvPr id="32" name="TextBox 31">
            <a:extLst>
              <a:ext uri="{FF2B5EF4-FFF2-40B4-BE49-F238E27FC236}">
                <a16:creationId xmlns:a16="http://schemas.microsoft.com/office/drawing/2014/main" id="{2DFFF345-756C-4593-9810-3C232BD81C18}"/>
              </a:ext>
            </a:extLst>
          </p:cNvPr>
          <p:cNvSpPr txBox="1"/>
          <p:nvPr/>
        </p:nvSpPr>
        <p:spPr>
          <a:xfrm>
            <a:off x="9388245" y="4902022"/>
            <a:ext cx="2803755" cy="95410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683C6"/>
                </a:solidFill>
                <a:effectLst/>
                <a:uLnTx/>
                <a:uFillTx/>
                <a:latin typeface="Tw Cen MT" panose="020B0602020104020603"/>
                <a:ea typeface="+mn-ea"/>
                <a:cs typeface="+mn-cs"/>
              </a:rPr>
              <a:t>General Queri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683C6"/>
                </a:solidFill>
                <a:effectLst/>
                <a:uLnTx/>
                <a:uFillTx/>
                <a:latin typeface="Tw Cen MT" panose="020B0602020104020603"/>
                <a:ea typeface="+mn-ea"/>
                <a:cs typeface="+mn-cs"/>
              </a:rPr>
              <a:t>Priority Projects</a:t>
            </a:r>
          </a:p>
        </p:txBody>
      </p:sp>
      <p:pic>
        <p:nvPicPr>
          <p:cNvPr id="34" name="Graphic 33" descr="Blueprint with solid fill">
            <a:extLst>
              <a:ext uri="{FF2B5EF4-FFF2-40B4-BE49-F238E27FC236}">
                <a16:creationId xmlns:a16="http://schemas.microsoft.com/office/drawing/2014/main" id="{C1EC7EFC-965B-494A-88A8-0DE8164968D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66542" y="4928297"/>
            <a:ext cx="863808" cy="863808"/>
          </a:xfrm>
          <a:prstGeom prst="rect">
            <a:avLst/>
          </a:prstGeom>
        </p:spPr>
      </p:pic>
      <p:pic>
        <p:nvPicPr>
          <p:cNvPr id="10" name="Graphic 9" descr="Programmer male outline">
            <a:extLst>
              <a:ext uri="{FF2B5EF4-FFF2-40B4-BE49-F238E27FC236}">
                <a16:creationId xmlns:a16="http://schemas.microsoft.com/office/drawing/2014/main" id="{D2C900EA-EC91-6530-683B-537C743085F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94472" y="3216034"/>
            <a:ext cx="914400" cy="914400"/>
          </a:xfrm>
          <a:prstGeom prst="rect">
            <a:avLst/>
          </a:prstGeom>
        </p:spPr>
      </p:pic>
      <p:pic>
        <p:nvPicPr>
          <p:cNvPr id="11" name="Graphic 10" descr="Tax outline">
            <a:extLst>
              <a:ext uri="{FF2B5EF4-FFF2-40B4-BE49-F238E27FC236}">
                <a16:creationId xmlns:a16="http://schemas.microsoft.com/office/drawing/2014/main" id="{0EA67C0F-04F3-13AF-1B2D-9370C5A0A10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94472" y="1434861"/>
            <a:ext cx="914400" cy="914400"/>
          </a:xfrm>
          <a:prstGeom prst="rect">
            <a:avLst/>
          </a:prstGeom>
        </p:spPr>
      </p:pic>
    </p:spTree>
    <p:extLst>
      <p:ext uri="{BB962C8B-B14F-4D97-AF65-F5344CB8AC3E}">
        <p14:creationId xmlns:p14="http://schemas.microsoft.com/office/powerpoint/2010/main" val="3958492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7422F06-6017-4361-8872-E0E2CEB20B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4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643468" y="643467"/>
            <a:ext cx="3415612" cy="5571066"/>
          </a:xfrm>
        </p:spPr>
        <p:txBody>
          <a:bodyPr>
            <a:normAutofit/>
          </a:bodyPr>
          <a:lstStyle/>
          <a:p>
            <a:r>
              <a:rPr lang="en-US" sz="4800">
                <a:solidFill>
                  <a:srgbClr val="FFFFFF"/>
                </a:solidFill>
              </a:rPr>
              <a:t>About the Federal Funds and Infrastructure Office (FFIO)</a:t>
            </a:r>
          </a:p>
        </p:txBody>
      </p:sp>
      <p:graphicFrame>
        <p:nvGraphicFramePr>
          <p:cNvPr id="5" name="Content Placeholder 2">
            <a:extLst>
              <a:ext uri="{FF2B5EF4-FFF2-40B4-BE49-F238E27FC236}">
                <a16:creationId xmlns:a16="http://schemas.microsoft.com/office/drawing/2014/main" id="{F2B637B5-D00B-A557-6589-7B39E41260D0}"/>
              </a:ext>
            </a:extLst>
          </p:cNvPr>
          <p:cNvGraphicFramePr>
            <a:graphicFrameLocks noGrp="1"/>
          </p:cNvGraphicFramePr>
          <p:nvPr>
            <p:ph idx="1"/>
          </p:nvPr>
        </p:nvGraphicFramePr>
        <p:xfrm>
          <a:off x="4837502" y="1245140"/>
          <a:ext cx="7243018" cy="54669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07BD17A5-BA15-A055-8A50-B87A35D919F0}"/>
              </a:ext>
            </a:extLst>
          </p:cNvPr>
          <p:cNvSpPr txBox="1"/>
          <p:nvPr/>
        </p:nvSpPr>
        <p:spPr>
          <a:xfrm>
            <a:off x="5068112" y="214009"/>
            <a:ext cx="6781798" cy="923330"/>
          </a:xfrm>
          <a:prstGeom prst="rect">
            <a:avLst/>
          </a:prstGeom>
          <a:noFill/>
        </p:spPr>
        <p:txBody>
          <a:bodyPr wrap="square" rtlCol="0">
            <a:spAutoFit/>
          </a:bodyPr>
          <a:lstStyle/>
          <a:p>
            <a:pPr marL="0" marR="0" lvl="0" indent="0" algn="ctr" defTabSz="256032"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Officially created by Executive Order No. 624, and tasked with implementing a whole-of-government to compete for federal funding by:</a:t>
            </a:r>
          </a:p>
        </p:txBody>
      </p:sp>
    </p:spTree>
    <p:extLst>
      <p:ext uri="{BB962C8B-B14F-4D97-AF65-F5344CB8AC3E}">
        <p14:creationId xmlns:p14="http://schemas.microsoft.com/office/powerpoint/2010/main" val="4152481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194971-2F2D-44B0-8AE6-FF2DCCEE0A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1FF9A61E-EB11-4C46-82E1-3E00A3B4B4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5E564EB3-35F2-4EFF-87DC-642DC020526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6A5AB136-1321-47B3-8AF9-A8140222B1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CCEFB9A7-C8DD-7F1A-F23E-02E2D28F5C0B}"/>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Local Government Engagement</a:t>
            </a:r>
          </a:p>
        </p:txBody>
      </p:sp>
      <p:sp>
        <p:nvSpPr>
          <p:cNvPr id="32" name="Rectangle 31">
            <a:extLst>
              <a:ext uri="{FF2B5EF4-FFF2-40B4-BE49-F238E27FC236}">
                <a16:creationId xmlns:a16="http://schemas.microsoft.com/office/drawing/2014/main" id="{3A29AB2E-91A6-4F11-8765-A410A0139E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22335511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3" name="Content Placeholder 2">
            <a:extLst>
              <a:ext uri="{FF2B5EF4-FFF2-40B4-BE49-F238E27FC236}">
                <a16:creationId xmlns:a16="http://schemas.microsoft.com/office/drawing/2014/main" id="{438FAB71-C6D9-69C6-15E1-74EEA1262BBF}"/>
              </a:ext>
            </a:extLst>
          </p:cNvPr>
          <p:cNvSpPr>
            <a:spLocks noGrp="1"/>
          </p:cNvSpPr>
          <p:nvPr>
            <p:ph idx="1"/>
          </p:nvPr>
        </p:nvSpPr>
        <p:spPr>
          <a:xfrm>
            <a:off x="4940490" y="258416"/>
            <a:ext cx="7026223" cy="2151409"/>
          </a:xfrm>
          <a:prstGeom prst="roundRect">
            <a:avLst/>
          </a:prstGeom>
          <a:solidFill>
            <a:schemeClr val="accent6">
              <a:lumMod val="20000"/>
              <a:lumOff val="80000"/>
              <a:alpha val="35822"/>
            </a:schemeClr>
          </a:solidFill>
          <a:ln>
            <a:noFill/>
          </a:ln>
        </p:spPr>
        <p:txBody>
          <a:bodyPr vert="horz" lIns="45720" tIns="45720" rIns="45720" bIns="45720" rtlCol="0" anchor="ctr">
            <a:normAutofit/>
          </a:bodyPr>
          <a:lstStyle/>
          <a:p>
            <a:pPr marL="0" indent="0">
              <a:buNone/>
            </a:pPr>
            <a:r>
              <a:rPr lang="en-IN" sz="2000" b="1"/>
              <a:t>The Partnership provides key federal funding information to the local governments of MA. </a:t>
            </a:r>
          </a:p>
          <a:p>
            <a:pPr marL="0" indent="0">
              <a:buNone/>
            </a:pPr>
            <a:r>
              <a:rPr lang="en-IN" sz="1800"/>
              <a:t>FFIO leads the monthly Massachusetts Federal Funds Partnership meeting. This forum delivers federal funding updates and offers a platform for addressing questions related to the many funding opportunities at the disposal of cities, towns and tribal organizations.</a:t>
            </a:r>
            <a:endParaRPr lang="en-US" sz="1800"/>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643468" y="643467"/>
            <a:ext cx="3415612"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Massachusetts Federal funds partnership</a:t>
            </a:r>
            <a:endParaRPr kumimoji="0" lang="en-US" sz="5000" b="0" i="0" u="none" strike="noStrike" kern="1200" cap="all" spc="100" normalizeH="0" baseline="0" noProof="0">
              <a:ln>
                <a:noFill/>
              </a:ln>
              <a:solidFill>
                <a:srgbClr val="0D0D0D"/>
              </a:solidFill>
              <a:effectLst/>
              <a:uLnTx/>
              <a:uFillTx/>
              <a:latin typeface="Tw Cen MT Condensed" panose="020B0606020104020203"/>
              <a:ea typeface="+mj-ea"/>
              <a:cs typeface="+mj-cs"/>
            </a:endParaRP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5000" b="0" i="0" u="none" strike="noStrike" kern="1200" cap="all" spc="100" normalizeH="0" baseline="0" noProof="0">
              <a:ln>
                <a:noFill/>
              </a:ln>
              <a:solidFill>
                <a:schemeClr val="bg1"/>
              </a:solidFill>
              <a:effectLst/>
              <a:uLnTx/>
              <a:uFillTx/>
              <a:latin typeface="Tw Cen MT Condensed" panose="020B0606020104020203"/>
              <a:ea typeface="+mj-ea"/>
              <a:cs typeface="+mj-cs"/>
            </a:endParaRPr>
          </a:p>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Engagement with RPAs &amp; </a:t>
            </a:r>
            <a:r>
              <a:rPr kumimoji="0" lang="en-US" sz="5000" b="0" i="0" u="none" strike="noStrike" kern="1200" cap="all" spc="100" normalizeH="0" baseline="0" noProof="0" err="1">
                <a:ln>
                  <a:noFill/>
                </a:ln>
                <a:solidFill>
                  <a:srgbClr val="FFFFFF"/>
                </a:solidFill>
                <a:effectLst/>
                <a:uLnTx/>
                <a:uFillTx/>
                <a:latin typeface="Tw Cen MT Condensed" panose="020B0606020104020203"/>
                <a:ea typeface="+mj-ea"/>
                <a:cs typeface="+mj-cs"/>
              </a:rPr>
              <a:t>TrIbes</a:t>
            </a:r>
            <a:endPar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endParaRPr>
          </a:p>
        </p:txBody>
      </p:sp>
      <p:sp>
        <p:nvSpPr>
          <p:cNvPr id="11" name="Content Placeholder 2">
            <a:extLst>
              <a:ext uri="{FF2B5EF4-FFF2-40B4-BE49-F238E27FC236}">
                <a16:creationId xmlns:a16="http://schemas.microsoft.com/office/drawing/2014/main" id="{C99D162D-B2EC-B50A-919C-1363298DF8EA}"/>
              </a:ext>
            </a:extLst>
          </p:cNvPr>
          <p:cNvSpPr txBox="1">
            <a:spLocks/>
          </p:cNvSpPr>
          <p:nvPr/>
        </p:nvSpPr>
        <p:spPr>
          <a:xfrm>
            <a:off x="4940490" y="3023162"/>
            <a:ext cx="4047599" cy="3221500"/>
          </a:xfrm>
          <a:prstGeom prst="rect">
            <a:avLst/>
          </a:prstGeom>
        </p:spPr>
        <p:txBody>
          <a:bodyPr vert="horz" lIns="45720" tIns="45720" rIns="45720" bIns="45720" rtlCol="0" anchor="ctr">
            <a:normAutofit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None/>
              <a:tabLst/>
              <a:defRPr/>
            </a:pPr>
            <a:endPar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None/>
              <a:tabLst/>
              <a:defRPr/>
            </a:pPr>
            <a:endPar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Previous Federal Funds Partnership Meeting Tuesday, September 30</a:t>
            </a:r>
            <a:r>
              <a:rPr kumimoji="0" lang="en-US" sz="2200" b="1" i="0" u="none" strike="noStrike" kern="1200" cap="none" spc="0" normalizeH="0" baseline="30000" noProof="0">
                <a:ln>
                  <a:noFill/>
                </a:ln>
                <a:solidFill>
                  <a:prstClr val="black"/>
                </a:solidFill>
                <a:effectLst/>
                <a:uLnTx/>
                <a:uFillTx/>
                <a:latin typeface="Tw Cen MT" panose="020B0602020104020603"/>
                <a:ea typeface="+mn-ea"/>
                <a:cs typeface="+mn-cs"/>
              </a:rPr>
              <a:t>th</a:t>
            </a: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 </a:t>
            </a:r>
            <a:endParaRPr lang="en-US" sz="2200" b="1" i="0" u="none" strike="noStrike" kern="1200" cap="none" spc="0" normalizeH="0" baseline="0" noProof="0">
              <a:ln>
                <a:noFill/>
              </a:ln>
              <a:solidFill>
                <a:prstClr val="black"/>
              </a:solidFill>
              <a:effectLst/>
              <a:uLnTx/>
              <a:uFillTx/>
              <a:latin typeface="Tw Cen MT" panose="020B0602020104020603"/>
            </a:endParaRPr>
          </a:p>
          <a:p>
            <a:pPr marL="447675" marR="0" lvl="2" indent="-285750" algn="l" defTabSz="457200" rtl="0" eaLnBrk="1" fontAlgn="auto" latinLnBrk="0" hangingPunct="1">
              <a:lnSpc>
                <a:spcPct val="100000"/>
              </a:lnSpc>
              <a:spcBef>
                <a:spcPts val="0"/>
              </a:spcBef>
              <a:spcAft>
                <a:spcPts val="0"/>
              </a:spcAft>
              <a:buClrTx/>
              <a:buSzTx/>
              <a:buFont typeface="Wingdings 3"/>
              <a:buChar char=""/>
              <a:tabLst/>
              <a:defRPr/>
            </a:pPr>
            <a:r>
              <a:rPr kumimoji="0" lang="en-US" sz="1800" b="0" i="0" u="none" strike="noStrike" kern="1200" cap="none" spc="0" normalizeH="0" baseline="0" noProof="0">
                <a:ln>
                  <a:noFill/>
                </a:ln>
                <a:solidFill>
                  <a:prstClr val="black"/>
                </a:solidFill>
                <a:effectLst/>
                <a:uLnTx/>
                <a:uFillTx/>
                <a:latin typeface="TW Cen MT"/>
                <a:ea typeface="+mn-ea"/>
                <a:cs typeface="+mn-cs"/>
              </a:rPr>
              <a:t>FFIO Technical Assistance Programs </a:t>
            </a:r>
            <a:endParaRPr lang="en-US" sz="1800" b="0" i="0" u="none" strike="noStrike" kern="1200" cap="none" spc="0" normalizeH="0" baseline="0" noProof="0">
              <a:ln>
                <a:noFill/>
              </a:ln>
              <a:solidFill>
                <a:prstClr val="black"/>
              </a:solidFill>
              <a:effectLst/>
              <a:uLnTx/>
              <a:uFillTx/>
              <a:latin typeface="TW Cen MT"/>
            </a:endParaRPr>
          </a:p>
          <a:p>
            <a:pPr marL="447675" marR="0" lvl="2" indent="-285750" algn="l" defTabSz="457200" rtl="0" eaLnBrk="1" fontAlgn="auto" latinLnBrk="0" hangingPunct="1">
              <a:lnSpc>
                <a:spcPct val="100000"/>
              </a:lnSpc>
              <a:spcBef>
                <a:spcPts val="0"/>
              </a:spcBef>
              <a:spcAft>
                <a:spcPts val="0"/>
              </a:spcAft>
              <a:buClrTx/>
              <a:buSzTx/>
              <a:buFont typeface="Wingdings 3"/>
              <a:buChar char=""/>
              <a:tabLst/>
              <a:defRPr/>
            </a:pPr>
            <a:r>
              <a:rPr kumimoji="0" lang="en-US" sz="1800" b="0" i="0" u="none" strike="noStrike" kern="1200" cap="none" spc="0" normalizeH="0" baseline="0" noProof="0" err="1">
                <a:ln>
                  <a:noFill/>
                </a:ln>
                <a:solidFill>
                  <a:prstClr val="black"/>
                </a:solidFill>
                <a:effectLst/>
                <a:uLnTx/>
                <a:uFillTx/>
                <a:latin typeface="TW Cen MT"/>
                <a:ea typeface="+mn-ea"/>
                <a:cs typeface="+mn-cs"/>
              </a:rPr>
              <a:t>GrantWell</a:t>
            </a:r>
            <a:endParaRPr kumimoji="0" lang="en-US" sz="1800" b="0" i="0" u="none" strike="noStrike" kern="1200" cap="none" spc="0" normalizeH="0" baseline="0" noProof="0">
              <a:ln>
                <a:noFill/>
              </a:ln>
              <a:solidFill>
                <a:prstClr val="black"/>
              </a:solidFill>
              <a:effectLst/>
              <a:uLnTx/>
              <a:uFillTx/>
              <a:latin typeface="TW Cen MT"/>
              <a:ea typeface="+mn-ea"/>
              <a:cs typeface="+mn-cs"/>
            </a:endParaRPr>
          </a:p>
          <a:p>
            <a:pPr marL="447675" lvl="2" indent="-285750" defTabSz="457200">
              <a:lnSpc>
                <a:spcPct val="100000"/>
              </a:lnSpc>
              <a:spcBef>
                <a:spcPts val="0"/>
              </a:spcBef>
              <a:spcAft>
                <a:spcPts val="0"/>
              </a:spcAft>
              <a:buClrTx/>
              <a:buFont typeface="Wingdings 3"/>
              <a:buChar char=""/>
              <a:defRPr/>
            </a:pPr>
            <a:r>
              <a:rPr lang="en-US" sz="1800" b="1">
                <a:highlight>
                  <a:srgbClr val="FFFF00"/>
                </a:highlight>
              </a:rPr>
              <a:t>Scan here to register for Partnership Zoom meetings and FFIO’s newsletter!</a:t>
            </a:r>
          </a:p>
          <a:p>
            <a:pPr marL="447675" lvl="2" indent="-285750" defTabSz="457200">
              <a:lnSpc>
                <a:spcPct val="100000"/>
              </a:lnSpc>
              <a:spcBef>
                <a:spcPts val="0"/>
              </a:spcBef>
              <a:spcAft>
                <a:spcPts val="0"/>
              </a:spcAft>
              <a:buClrTx/>
              <a:buFont typeface="Wingdings 3"/>
              <a:buChar char=""/>
              <a:defRPr/>
            </a:pPr>
            <a:endParaRPr lang="en-US" sz="1800" b="1">
              <a:solidFill>
                <a:prstClr val="black"/>
              </a:solidFill>
            </a:endParaRPr>
          </a:p>
          <a:p>
            <a:pPr marL="90805" defTabSz="457200">
              <a:buClr>
                <a:srgbClr val="1CADE4"/>
              </a:buClr>
              <a:buFont typeface="Tw Cen MT"/>
              <a:buChar char=" "/>
              <a:defRPr/>
            </a:pPr>
            <a:endParaRPr lang="en-US" sz="1400">
              <a:solidFill>
                <a:prstClr val="black"/>
              </a:solidFill>
              <a:latin typeface="Tw Cen MT" panose="020B0602020104020603"/>
            </a:endParaRPr>
          </a:p>
          <a:p>
            <a:pPr marL="90805" marR="0" lvl="0" indent="-9144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Char char=" "/>
              <a:tabLst/>
              <a:defRPr/>
            </a:pPr>
            <a:endParaRPr lang="en-US" sz="2400" b="1" i="0" u="none" strike="noStrike" kern="1200" cap="none" spc="0" normalizeH="0" baseline="0" noProof="0">
              <a:ln>
                <a:noFill/>
              </a:ln>
              <a:solidFill>
                <a:prstClr val="black"/>
              </a:solidFill>
              <a:effectLst/>
              <a:uLnTx/>
              <a:uFillTx/>
              <a:latin typeface="Tw Cen MT" panose="020B0602020104020603"/>
            </a:endParaRPr>
          </a:p>
          <a:p>
            <a:pPr marL="0" marR="0" lvl="0" indent="0" algn="l" defTabSz="914400" rtl="0" eaLnBrk="1" fontAlgn="auto" latinLnBrk="0" hangingPunct="1">
              <a:lnSpc>
                <a:spcPct val="90000"/>
              </a:lnSpc>
              <a:spcBef>
                <a:spcPts val="1200"/>
              </a:spcBef>
              <a:spcAft>
                <a:spcPts val="200"/>
              </a:spcAft>
              <a:buClr>
                <a:srgbClr val="1CADE4"/>
              </a:buClr>
              <a:buSzPct val="100000"/>
              <a:buNone/>
              <a:tabLst/>
              <a:defRPr/>
            </a:pPr>
            <a:endParaRPr lang="en-US" sz="2400" b="1" i="0" u="none" strike="noStrike" kern="1200" cap="none" spc="0" normalizeH="0" baseline="30000" noProof="0">
              <a:ln>
                <a:noFill/>
              </a:ln>
              <a:solidFill>
                <a:prstClr val="black"/>
              </a:solidFill>
              <a:effectLst/>
              <a:uLnTx/>
              <a:uFillTx/>
              <a:latin typeface="Tw Cen MT" panose="020B0602020104020603"/>
            </a:endParaRPr>
          </a:p>
        </p:txBody>
      </p:sp>
      <p:pic>
        <p:nvPicPr>
          <p:cNvPr id="2" name="Picture 1" descr="A qr code on a white background&#10;&#10;Description automatically generated">
            <a:extLst>
              <a:ext uri="{FF2B5EF4-FFF2-40B4-BE49-F238E27FC236}">
                <a16:creationId xmlns:a16="http://schemas.microsoft.com/office/drawing/2014/main" id="{5F01B257-68F2-182D-AD88-094CADB1DF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88090" y="2854293"/>
            <a:ext cx="2560442" cy="2560442"/>
          </a:xfrm>
          <a:prstGeom prst="rect">
            <a:avLst/>
          </a:prstGeom>
        </p:spPr>
      </p:pic>
    </p:spTree>
    <p:extLst>
      <p:ext uri="{BB962C8B-B14F-4D97-AF65-F5344CB8AC3E}">
        <p14:creationId xmlns:p14="http://schemas.microsoft.com/office/powerpoint/2010/main" val="756593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1B7AD68-2546-FA2F-A2F2-6C54E2284F2F}"/>
              </a:ext>
            </a:extLst>
          </p:cNvPr>
          <p:cNvSpPr txBox="1">
            <a:spLocks/>
          </p:cNvSpPr>
          <p:nvPr/>
        </p:nvSpPr>
        <p:spPr>
          <a:xfrm>
            <a:off x="1024128" y="585216"/>
            <a:ext cx="8018272" cy="149961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600"/>
              </a:spcAft>
              <a:buClrTx/>
              <a:buSzTx/>
              <a:buFontTx/>
              <a:buNone/>
              <a:tabLst/>
              <a:defRPr/>
            </a:pPr>
            <a:r>
              <a:rPr kumimoji="0" lang="en-US" sz="5000" b="0" i="0" u="none" strike="noStrike" kern="1200" cap="all" spc="100" normalizeH="0" baseline="0" noProof="0">
                <a:ln>
                  <a:noFill/>
                </a:ln>
                <a:solidFill>
                  <a:prstClr val="black">
                    <a:lumMod val="95000"/>
                    <a:lumOff val="5000"/>
                  </a:prstClr>
                </a:solidFill>
                <a:effectLst/>
                <a:uLnTx/>
                <a:uFillTx/>
                <a:latin typeface="Tw Cen MT Condensed" panose="020B0606020104020203"/>
                <a:ea typeface="+mj-ea"/>
                <a:cs typeface="+mj-cs"/>
              </a:rPr>
              <a:t>FFIO Community Tour</a:t>
            </a:r>
          </a:p>
        </p:txBody>
      </p:sp>
      <p:sp>
        <p:nvSpPr>
          <p:cNvPr id="3" name="Content Placeholder 2">
            <a:extLst>
              <a:ext uri="{FF2B5EF4-FFF2-40B4-BE49-F238E27FC236}">
                <a16:creationId xmlns:a16="http://schemas.microsoft.com/office/drawing/2014/main" id="{438FAB71-C6D9-69C6-15E1-74EEA1262BBF}"/>
              </a:ext>
            </a:extLst>
          </p:cNvPr>
          <p:cNvSpPr>
            <a:spLocks noGrp="1"/>
          </p:cNvSpPr>
          <p:nvPr>
            <p:ph idx="4294967295"/>
          </p:nvPr>
        </p:nvSpPr>
        <p:spPr>
          <a:xfrm>
            <a:off x="597548" y="1566852"/>
            <a:ext cx="6062955" cy="4022725"/>
          </a:xfrm>
        </p:spPr>
        <p:txBody>
          <a:bodyPr vert="horz" lIns="45720" tIns="45720" rIns="45720" bIns="45720" rtlCol="0" anchor="t">
            <a:normAutofit/>
          </a:bodyPr>
          <a:lstStyle/>
          <a:p>
            <a:pPr marL="342900" lvl="1" indent="-342900"/>
            <a:endParaRPr lang="en-US" sz="2400" b="1"/>
          </a:p>
          <a:p>
            <a:pPr marL="525780" lvl="2" indent="-342900"/>
            <a:r>
              <a:rPr lang="en-US" sz="1800" b="1">
                <a:solidFill>
                  <a:srgbClr val="1CADE4"/>
                </a:solidFill>
              </a:rPr>
              <a:t>INFORMATION SHARING</a:t>
            </a:r>
            <a:r>
              <a:rPr lang="en-US" sz="1800"/>
              <a:t>: Provide information on federal grant application resources made available by the new legislation </a:t>
            </a:r>
          </a:p>
          <a:p>
            <a:pPr marL="525780" lvl="2" indent="-342900"/>
            <a:r>
              <a:rPr lang="en-US" sz="1800" b="1">
                <a:solidFill>
                  <a:srgbClr val="1CADE4"/>
                </a:solidFill>
              </a:rPr>
              <a:t>UNDERSTAND NEEDS AND PRIORITIES</a:t>
            </a:r>
            <a:r>
              <a:rPr lang="en-US" sz="1800" b="1"/>
              <a:t>: </a:t>
            </a:r>
            <a:r>
              <a:rPr lang="en-US" sz="1800"/>
              <a:t>Seek community input on priority projects seeking federal funding</a:t>
            </a:r>
          </a:p>
          <a:p>
            <a:pPr marL="525780" lvl="2" indent="-342900"/>
            <a:r>
              <a:rPr lang="en-US" sz="1800" b="1">
                <a:solidFill>
                  <a:srgbClr val="1CADE4"/>
                </a:solidFill>
              </a:rPr>
              <a:t>GATHER FEEDBACK</a:t>
            </a:r>
            <a:r>
              <a:rPr lang="en-US" sz="1800"/>
              <a:t>: Solicit feedback on the Federal Funds Partnership and other FFIO processes</a:t>
            </a:r>
          </a:p>
          <a:p>
            <a:pPr marL="182880" lvl="2" indent="0">
              <a:buNone/>
            </a:pPr>
            <a:endParaRPr lang="en-US" sz="1800"/>
          </a:p>
        </p:txBody>
      </p:sp>
      <p:pic>
        <p:nvPicPr>
          <p:cNvPr id="15" name="Graphic 14" descr="Marker outline">
            <a:extLst>
              <a:ext uri="{FF2B5EF4-FFF2-40B4-BE49-F238E27FC236}">
                <a16:creationId xmlns:a16="http://schemas.microsoft.com/office/drawing/2014/main" id="{D6F6D2DC-A141-97FA-86B7-BC9C355ACC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599175">
            <a:off x="138220" y="3299616"/>
            <a:ext cx="706120" cy="706120"/>
          </a:xfrm>
          <a:prstGeom prst="rect">
            <a:avLst/>
          </a:prstGeom>
        </p:spPr>
      </p:pic>
      <p:cxnSp>
        <p:nvCxnSpPr>
          <p:cNvPr id="16" name="Connector: Curved 18">
            <a:extLst>
              <a:ext uri="{FF2B5EF4-FFF2-40B4-BE49-F238E27FC236}">
                <a16:creationId xmlns:a16="http://schemas.microsoft.com/office/drawing/2014/main" id="{598D7587-8673-9E9A-8327-9A0EA590F182}"/>
              </a:ext>
            </a:extLst>
          </p:cNvPr>
          <p:cNvCxnSpPr>
            <a:cxnSpLocks/>
          </p:cNvCxnSpPr>
          <p:nvPr/>
        </p:nvCxnSpPr>
        <p:spPr>
          <a:xfrm>
            <a:off x="46001" y="3890432"/>
            <a:ext cx="1709418" cy="882737"/>
          </a:xfrm>
          <a:prstGeom prst="curvedConnector3">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Connector: Curved 20">
            <a:extLst>
              <a:ext uri="{FF2B5EF4-FFF2-40B4-BE49-F238E27FC236}">
                <a16:creationId xmlns:a16="http://schemas.microsoft.com/office/drawing/2014/main" id="{6C61E914-8ED6-75FB-7E05-D33B707D9243}"/>
              </a:ext>
            </a:extLst>
          </p:cNvPr>
          <p:cNvCxnSpPr>
            <a:cxnSpLocks/>
          </p:cNvCxnSpPr>
          <p:nvPr/>
        </p:nvCxnSpPr>
        <p:spPr>
          <a:xfrm>
            <a:off x="1755319" y="4769630"/>
            <a:ext cx="1793836" cy="1203944"/>
          </a:xfrm>
          <a:prstGeom prst="curvedConnector3">
            <a:avLst>
              <a:gd name="adj1" fmla="val 50000"/>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Box 17">
            <a:extLst>
              <a:ext uri="{FF2B5EF4-FFF2-40B4-BE49-F238E27FC236}">
                <a16:creationId xmlns:a16="http://schemas.microsoft.com/office/drawing/2014/main" id="{948B3901-F227-88C5-1D1A-F1E84F6CA2CA}"/>
              </a:ext>
            </a:extLst>
          </p:cNvPr>
          <p:cNvSpPr txBox="1"/>
          <p:nvPr/>
        </p:nvSpPr>
        <p:spPr>
          <a:xfrm>
            <a:off x="74855" y="4518851"/>
            <a:ext cx="144458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WORCESTER</a:t>
            </a:r>
          </a:p>
        </p:txBody>
      </p:sp>
      <p:sp>
        <p:nvSpPr>
          <p:cNvPr id="20" name="TextBox 19">
            <a:extLst>
              <a:ext uri="{FF2B5EF4-FFF2-40B4-BE49-F238E27FC236}">
                <a16:creationId xmlns:a16="http://schemas.microsoft.com/office/drawing/2014/main" id="{DEC32FC3-55A4-E3AA-754B-93D636BDA57C}"/>
              </a:ext>
            </a:extLst>
          </p:cNvPr>
          <p:cNvSpPr txBox="1"/>
          <p:nvPr/>
        </p:nvSpPr>
        <p:spPr>
          <a:xfrm>
            <a:off x="1235937" y="4794892"/>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HAVERHILL</a:t>
            </a:r>
            <a:endParaRPr kumimoji="0" lang="en-US" sz="16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cxnSp>
        <p:nvCxnSpPr>
          <p:cNvPr id="22" name="Connector: Curved 26">
            <a:extLst>
              <a:ext uri="{FF2B5EF4-FFF2-40B4-BE49-F238E27FC236}">
                <a16:creationId xmlns:a16="http://schemas.microsoft.com/office/drawing/2014/main" id="{16809AB9-1DB2-B4BD-C8E3-541BE5DE6DAB}"/>
              </a:ext>
            </a:extLst>
          </p:cNvPr>
          <p:cNvCxnSpPr>
            <a:cxnSpLocks/>
          </p:cNvCxnSpPr>
          <p:nvPr/>
        </p:nvCxnSpPr>
        <p:spPr>
          <a:xfrm flipV="1">
            <a:off x="3582474" y="5054997"/>
            <a:ext cx="1018115" cy="918577"/>
          </a:xfrm>
          <a:prstGeom prst="curvedConnector3">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6" name="Straight Arrow Connector 25">
            <a:extLst>
              <a:ext uri="{FF2B5EF4-FFF2-40B4-BE49-F238E27FC236}">
                <a16:creationId xmlns:a16="http://schemas.microsoft.com/office/drawing/2014/main" id="{9F98E5EC-484A-62A9-5DE6-CE7D504A60E8}"/>
              </a:ext>
            </a:extLst>
          </p:cNvPr>
          <p:cNvCxnSpPr>
            <a:cxnSpLocks/>
          </p:cNvCxnSpPr>
          <p:nvPr/>
        </p:nvCxnSpPr>
        <p:spPr>
          <a:xfrm>
            <a:off x="6677355" y="6382346"/>
            <a:ext cx="20429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Connector: Curved 5">
            <a:extLst>
              <a:ext uri="{FF2B5EF4-FFF2-40B4-BE49-F238E27FC236}">
                <a16:creationId xmlns:a16="http://schemas.microsoft.com/office/drawing/2014/main" id="{8DF9F752-057A-E7CF-1039-AE6C1C6BADAB}"/>
              </a:ext>
            </a:extLst>
          </p:cNvPr>
          <p:cNvCxnSpPr>
            <a:cxnSpLocks/>
          </p:cNvCxnSpPr>
          <p:nvPr/>
        </p:nvCxnSpPr>
        <p:spPr>
          <a:xfrm rot="16200000" flipH="1">
            <a:off x="6149989" y="5876033"/>
            <a:ext cx="718376" cy="302649"/>
          </a:xfrm>
          <a:prstGeom prst="curvedConnector3">
            <a:avLst>
              <a:gd name="adj1" fmla="val 7571"/>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TextBox 30">
            <a:extLst>
              <a:ext uri="{FF2B5EF4-FFF2-40B4-BE49-F238E27FC236}">
                <a16:creationId xmlns:a16="http://schemas.microsoft.com/office/drawing/2014/main" id="{34D20D0F-6FCF-BDE8-9715-EA5D7DCB6742}"/>
              </a:ext>
            </a:extLst>
          </p:cNvPr>
          <p:cNvSpPr txBox="1"/>
          <p:nvPr/>
        </p:nvSpPr>
        <p:spPr>
          <a:xfrm>
            <a:off x="1596622" y="5161930"/>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BROCKTON</a:t>
            </a:r>
          </a:p>
        </p:txBody>
      </p:sp>
      <p:pic>
        <p:nvPicPr>
          <p:cNvPr id="32" name="Graphic 31" descr="Marker outline">
            <a:extLst>
              <a:ext uri="{FF2B5EF4-FFF2-40B4-BE49-F238E27FC236}">
                <a16:creationId xmlns:a16="http://schemas.microsoft.com/office/drawing/2014/main" id="{461E03C6-3418-4142-F0BE-8319D9A8FC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433817">
            <a:off x="798952" y="3905166"/>
            <a:ext cx="706120" cy="706120"/>
          </a:xfrm>
          <a:prstGeom prst="rect">
            <a:avLst/>
          </a:prstGeom>
        </p:spPr>
      </p:pic>
      <p:pic>
        <p:nvPicPr>
          <p:cNvPr id="33" name="Graphic 32" descr="Marker outline">
            <a:extLst>
              <a:ext uri="{FF2B5EF4-FFF2-40B4-BE49-F238E27FC236}">
                <a16:creationId xmlns:a16="http://schemas.microsoft.com/office/drawing/2014/main" id="{7A8BCF02-3215-3FF9-1768-74F3EAB5D1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19438" y="4132219"/>
            <a:ext cx="706120" cy="706120"/>
          </a:xfrm>
          <a:prstGeom prst="rect">
            <a:avLst/>
          </a:prstGeom>
        </p:spPr>
      </p:pic>
      <p:sp>
        <p:nvSpPr>
          <p:cNvPr id="35" name="TextBox 34">
            <a:extLst>
              <a:ext uri="{FF2B5EF4-FFF2-40B4-BE49-F238E27FC236}">
                <a16:creationId xmlns:a16="http://schemas.microsoft.com/office/drawing/2014/main" id="{45408371-3851-6DEC-FF02-1841D0A4600B}"/>
              </a:ext>
            </a:extLst>
          </p:cNvPr>
          <p:cNvSpPr txBox="1"/>
          <p:nvPr/>
        </p:nvSpPr>
        <p:spPr>
          <a:xfrm>
            <a:off x="2777322" y="5974982"/>
            <a:ext cx="1632898" cy="307777"/>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SPRINGFIELD</a:t>
            </a:r>
          </a:p>
        </p:txBody>
      </p:sp>
      <p:sp>
        <p:nvSpPr>
          <p:cNvPr id="36" name="TextBox 35">
            <a:extLst>
              <a:ext uri="{FF2B5EF4-FFF2-40B4-BE49-F238E27FC236}">
                <a16:creationId xmlns:a16="http://schemas.microsoft.com/office/drawing/2014/main" id="{AA7FEAEA-740E-6548-30B4-6E689E767ED4}"/>
              </a:ext>
            </a:extLst>
          </p:cNvPr>
          <p:cNvSpPr txBox="1"/>
          <p:nvPr/>
        </p:nvSpPr>
        <p:spPr>
          <a:xfrm>
            <a:off x="-100491" y="4019933"/>
            <a:ext cx="129680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PITTSFIELD</a:t>
            </a:r>
          </a:p>
        </p:txBody>
      </p:sp>
      <p:pic>
        <p:nvPicPr>
          <p:cNvPr id="2" name="Graphic 1" descr="Marker outline">
            <a:extLst>
              <a:ext uri="{FF2B5EF4-FFF2-40B4-BE49-F238E27FC236}">
                <a16:creationId xmlns:a16="http://schemas.microsoft.com/office/drawing/2014/main" id="{8D4498DC-8481-1115-F6D5-D44A324B50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350567">
            <a:off x="2310180" y="4473568"/>
            <a:ext cx="706120" cy="706120"/>
          </a:xfrm>
          <a:prstGeom prst="rect">
            <a:avLst/>
          </a:prstGeom>
        </p:spPr>
      </p:pic>
      <p:sp>
        <p:nvSpPr>
          <p:cNvPr id="5" name="TextBox 4">
            <a:extLst>
              <a:ext uri="{FF2B5EF4-FFF2-40B4-BE49-F238E27FC236}">
                <a16:creationId xmlns:a16="http://schemas.microsoft.com/office/drawing/2014/main" id="{6E1EECB5-E59E-617E-1A65-A11915846272}"/>
              </a:ext>
            </a:extLst>
          </p:cNvPr>
          <p:cNvSpPr txBox="1"/>
          <p:nvPr/>
        </p:nvSpPr>
        <p:spPr>
          <a:xfrm>
            <a:off x="2244374" y="5731707"/>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BOSTON</a:t>
            </a:r>
          </a:p>
        </p:txBody>
      </p:sp>
      <p:pic>
        <p:nvPicPr>
          <p:cNvPr id="8" name="Graphic 7" descr="Marker outline">
            <a:extLst>
              <a:ext uri="{FF2B5EF4-FFF2-40B4-BE49-F238E27FC236}">
                <a16:creationId xmlns:a16="http://schemas.microsoft.com/office/drawing/2014/main" id="{BD94A702-9E9D-E40F-2EF3-D4A2D18373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1012" y="5117355"/>
            <a:ext cx="706120" cy="706120"/>
          </a:xfrm>
          <a:prstGeom prst="rect">
            <a:avLst/>
          </a:prstGeom>
        </p:spPr>
      </p:pic>
      <p:cxnSp>
        <p:nvCxnSpPr>
          <p:cNvPr id="14" name="Connector: Curved 18">
            <a:extLst>
              <a:ext uri="{FF2B5EF4-FFF2-40B4-BE49-F238E27FC236}">
                <a16:creationId xmlns:a16="http://schemas.microsoft.com/office/drawing/2014/main" id="{402FC071-DD5E-A482-1B24-8AA3FAC84B1C}"/>
              </a:ext>
            </a:extLst>
          </p:cNvPr>
          <p:cNvCxnSpPr>
            <a:cxnSpLocks/>
          </p:cNvCxnSpPr>
          <p:nvPr/>
        </p:nvCxnSpPr>
        <p:spPr>
          <a:xfrm>
            <a:off x="4620473" y="5029166"/>
            <a:ext cx="1758573" cy="639003"/>
          </a:xfrm>
          <a:prstGeom prst="curvedConnector3">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23" name="Graphic 22" descr="Marker outline">
            <a:extLst>
              <a:ext uri="{FF2B5EF4-FFF2-40B4-BE49-F238E27FC236}">
                <a16:creationId xmlns:a16="http://schemas.microsoft.com/office/drawing/2014/main" id="{52CE81FB-9250-56E9-DD64-4772E118BD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83743" y="4420109"/>
            <a:ext cx="706120" cy="706120"/>
          </a:xfrm>
          <a:prstGeom prst="rect">
            <a:avLst/>
          </a:prstGeom>
        </p:spPr>
      </p:pic>
      <p:sp>
        <p:nvSpPr>
          <p:cNvPr id="25" name="TextBox 24">
            <a:extLst>
              <a:ext uri="{FF2B5EF4-FFF2-40B4-BE49-F238E27FC236}">
                <a16:creationId xmlns:a16="http://schemas.microsoft.com/office/drawing/2014/main" id="{94BEF636-093A-0EBC-A779-FD2FA9804C2B}"/>
              </a:ext>
            </a:extLst>
          </p:cNvPr>
          <p:cNvSpPr txBox="1"/>
          <p:nvPr/>
        </p:nvSpPr>
        <p:spPr>
          <a:xfrm>
            <a:off x="4162432" y="5109906"/>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GLOUCESTER</a:t>
            </a:r>
          </a:p>
        </p:txBody>
      </p:sp>
      <p:pic>
        <p:nvPicPr>
          <p:cNvPr id="10" name="Graphic 9" descr="Marker outline">
            <a:extLst>
              <a:ext uri="{FF2B5EF4-FFF2-40B4-BE49-F238E27FC236}">
                <a16:creationId xmlns:a16="http://schemas.microsoft.com/office/drawing/2014/main" id="{B7128334-7D17-D176-A275-93A9805BD9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45559" y="5315818"/>
            <a:ext cx="706120" cy="706120"/>
          </a:xfrm>
          <a:prstGeom prst="rect">
            <a:avLst/>
          </a:prstGeom>
        </p:spPr>
      </p:pic>
      <p:sp>
        <p:nvSpPr>
          <p:cNvPr id="40" name="TextBox 39">
            <a:extLst>
              <a:ext uri="{FF2B5EF4-FFF2-40B4-BE49-F238E27FC236}">
                <a16:creationId xmlns:a16="http://schemas.microsoft.com/office/drawing/2014/main" id="{6093CB6C-310F-D849-07A2-50D5BD250F05}"/>
              </a:ext>
            </a:extLst>
          </p:cNvPr>
          <p:cNvSpPr txBox="1"/>
          <p:nvPr/>
        </p:nvSpPr>
        <p:spPr>
          <a:xfrm>
            <a:off x="4633668" y="5498977"/>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Tw Cen MT" panose="020B0602020104020603"/>
              </a:rPr>
              <a:t>NEW BEDFORD</a:t>
            </a:r>
            <a:endPar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41" name="Graphic 40" descr="Marker outline">
            <a:extLst>
              <a:ext uri="{FF2B5EF4-FFF2-40B4-BE49-F238E27FC236}">
                <a16:creationId xmlns:a16="http://schemas.microsoft.com/office/drawing/2014/main" id="{80595976-BCAC-39EE-614B-F9C916A293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53160" y="4821858"/>
            <a:ext cx="706120" cy="706120"/>
          </a:xfrm>
          <a:prstGeom prst="rect">
            <a:avLst/>
          </a:prstGeom>
        </p:spPr>
      </p:pic>
      <p:pic>
        <p:nvPicPr>
          <p:cNvPr id="43" name="Graphic 42" descr="Marker outline">
            <a:extLst>
              <a:ext uri="{FF2B5EF4-FFF2-40B4-BE49-F238E27FC236}">
                <a16:creationId xmlns:a16="http://schemas.microsoft.com/office/drawing/2014/main" id="{2E3579F2-69E8-47CB-271C-8DEEC179D90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56332" y="5029166"/>
            <a:ext cx="706120" cy="706120"/>
          </a:xfrm>
          <a:prstGeom prst="rect">
            <a:avLst/>
          </a:prstGeom>
        </p:spPr>
      </p:pic>
      <p:sp>
        <p:nvSpPr>
          <p:cNvPr id="44" name="TextBox 43">
            <a:extLst>
              <a:ext uri="{FF2B5EF4-FFF2-40B4-BE49-F238E27FC236}">
                <a16:creationId xmlns:a16="http://schemas.microsoft.com/office/drawing/2014/main" id="{D698477B-DC2F-C129-4DAF-A9B2B4CC9E65}"/>
              </a:ext>
            </a:extLst>
          </p:cNvPr>
          <p:cNvSpPr txBox="1"/>
          <p:nvPr/>
        </p:nvSpPr>
        <p:spPr>
          <a:xfrm>
            <a:off x="5539514" y="5797096"/>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Tw Cen MT" panose="020B0602020104020603"/>
              </a:rPr>
              <a:t>BARNSTABLE</a:t>
            </a:r>
            <a:endPar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1026" name="Picture 2">
            <a:extLst>
              <a:ext uri="{FF2B5EF4-FFF2-40B4-BE49-F238E27FC236}">
                <a16:creationId xmlns:a16="http://schemas.microsoft.com/office/drawing/2014/main" id="{D6045C5C-DED3-AEF6-058F-7DCC997441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71256" y="1744333"/>
            <a:ext cx="5110755" cy="384692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E1657694-30F0-93EC-A229-A63FCE0C1355}"/>
              </a:ext>
            </a:extLst>
          </p:cNvPr>
          <p:cNvSpPr txBox="1"/>
          <p:nvPr/>
        </p:nvSpPr>
        <p:spPr>
          <a:xfrm>
            <a:off x="6958318" y="5792787"/>
            <a:ext cx="4168164" cy="95410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endParaRPr>
          </a:p>
          <a:p>
            <a:pPr defTabSz="457200">
              <a:defRPr/>
            </a:pPr>
            <a:r>
              <a:rPr lang="en-US" sz="1400">
                <a:solidFill>
                  <a:prstClr val="black"/>
                </a:solidFill>
                <a:latin typeface="Tw Cen MT" panose="020B0602020104020603"/>
              </a:rPr>
              <a:t>GREENFIELD </a:t>
            </a:r>
          </a:p>
          <a:p>
            <a:pPr defTabSz="457200">
              <a:defRPr/>
            </a:pPr>
            <a:r>
              <a:rPr lang="en-US" sz="1400">
                <a:solidFill>
                  <a:prstClr val="black"/>
                </a:solidFill>
                <a:latin typeface="Tw Cen MT" panose="020B0602020104020603"/>
              </a:rPr>
              <a:t>LYNN (10/15)</a:t>
            </a:r>
          </a:p>
          <a:p>
            <a:pPr defTabSz="457200">
              <a:defRPr/>
            </a:pPr>
            <a:r>
              <a:rPr lang="en-US" sz="1400">
                <a:solidFill>
                  <a:prstClr val="black"/>
                </a:solidFill>
                <a:latin typeface="Tw Cen MT" panose="020B0602020104020603"/>
              </a:rPr>
              <a:t>LEOMINSTER (10/23)</a:t>
            </a:r>
          </a:p>
        </p:txBody>
      </p:sp>
      <p:sp>
        <p:nvSpPr>
          <p:cNvPr id="4" name="TextBox 3">
            <a:extLst>
              <a:ext uri="{FF2B5EF4-FFF2-40B4-BE49-F238E27FC236}">
                <a16:creationId xmlns:a16="http://schemas.microsoft.com/office/drawing/2014/main" id="{7B44D175-57D7-29C5-0EE9-70CE500E8F2C}"/>
              </a:ext>
            </a:extLst>
          </p:cNvPr>
          <p:cNvSpPr txBox="1"/>
          <p:nvPr/>
        </p:nvSpPr>
        <p:spPr>
          <a:xfrm>
            <a:off x="5692728" y="6166683"/>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Tw Cen MT" panose="020B0602020104020603"/>
              </a:rPr>
              <a:t>MEDFORD</a:t>
            </a:r>
            <a:endPar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6" name="Graphic 5" descr="Marker outline">
            <a:extLst>
              <a:ext uri="{FF2B5EF4-FFF2-40B4-BE49-F238E27FC236}">
                <a16:creationId xmlns:a16="http://schemas.microsoft.com/office/drawing/2014/main" id="{D549C23A-2EF5-EDF9-14CB-CC0C2B61149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82854" y="6082893"/>
            <a:ext cx="521031" cy="550146"/>
          </a:xfrm>
          <a:prstGeom prst="rect">
            <a:avLst/>
          </a:prstGeom>
        </p:spPr>
      </p:pic>
    </p:spTree>
    <p:extLst>
      <p:ext uri="{BB962C8B-B14F-4D97-AF65-F5344CB8AC3E}">
        <p14:creationId xmlns:p14="http://schemas.microsoft.com/office/powerpoint/2010/main" val="41568584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07F9AB2-349C-03F4-FEE1-7D3074469279}"/>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23C29CE1-614F-8685-04FE-0C62134261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ADB627A5-C098-58C9-7569-1A5AC8AF31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59173BB5-8D65-AF38-334C-B9633F79CA0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8816B0C4-5684-A854-4A99-0BCA2A006F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5E77BB09-A5C4-6B9C-C2BA-6385B50BF359}"/>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Federal Matching Funds Legislation</a:t>
            </a:r>
          </a:p>
        </p:txBody>
      </p:sp>
      <p:sp>
        <p:nvSpPr>
          <p:cNvPr id="32" name="Rectangle 31">
            <a:extLst>
              <a:ext uri="{FF2B5EF4-FFF2-40B4-BE49-F238E27FC236}">
                <a16:creationId xmlns:a16="http://schemas.microsoft.com/office/drawing/2014/main" id="{BFDFA2E9-B1BE-77B7-B8D7-06E6F05596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3049280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158559" y="643467"/>
            <a:ext cx="4229566"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Massachusetts Federal match legislation </a:t>
            </a: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endParaRPr>
          </a:p>
        </p:txBody>
      </p:sp>
      <p:sp>
        <p:nvSpPr>
          <p:cNvPr id="4" name="TextBox 3">
            <a:extLst>
              <a:ext uri="{FF2B5EF4-FFF2-40B4-BE49-F238E27FC236}">
                <a16:creationId xmlns:a16="http://schemas.microsoft.com/office/drawing/2014/main" id="{F5B4FF78-B142-84EA-0463-0190E96E2742}"/>
              </a:ext>
            </a:extLst>
          </p:cNvPr>
          <p:cNvSpPr txBox="1"/>
          <p:nvPr/>
        </p:nvSpPr>
        <p:spPr>
          <a:xfrm>
            <a:off x="4892386" y="735955"/>
            <a:ext cx="6918613" cy="59400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Matching Fund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Unlocks up to </a:t>
            </a:r>
            <a:r>
              <a:rPr kumimoji="0" lang="en-US" sz="1800" b="1" i="0" u="none" strike="noStrike" kern="1200" cap="none" spc="0" normalizeH="0" baseline="0" noProof="0">
                <a:ln>
                  <a:noFill/>
                </a:ln>
                <a:solidFill>
                  <a:prstClr val="black"/>
                </a:solidFill>
                <a:effectLst/>
                <a:uLnTx/>
                <a:uFillTx/>
                <a:latin typeface="Tw Cen MT" panose="020B0602020104020603"/>
                <a:ea typeface="+mn-ea"/>
                <a:cs typeface="+mn-cs"/>
              </a:rPr>
              <a:t>$750M</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for matching funds for federal program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Eligible entities, including RPAs can now apply for match via the </a:t>
            </a:r>
            <a:r>
              <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hlinkClick r:id="rId2">
                  <a:extLst>
                    <a:ext uri="{A12FA001-AC4F-418D-AE19-62706E023703}">
                      <ahyp:hlinkClr xmlns:ahyp="http://schemas.microsoft.com/office/drawing/2018/hyperlinkcolor" val="tx"/>
                    </a:ext>
                  </a:extLst>
                </a:hlinkClick>
              </a:rPr>
              <a:t>FFIO Match Request Form</a:t>
            </a:r>
            <a:endPar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Learn more on the new </a:t>
            </a:r>
            <a:r>
              <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hlinkClick r:id="rId3">
                  <a:extLst>
                    <a:ext uri="{A12FA001-AC4F-418D-AE19-62706E023703}">
                      <ahyp:hlinkClr xmlns:ahyp="http://schemas.microsoft.com/office/drawing/2018/hyperlinkcolor" val="tx"/>
                    </a:ext>
                  </a:extLst>
                </a:hlinkClick>
              </a:rPr>
              <a:t>Massachusetts Matching Funds Website</a:t>
            </a:r>
            <a:endPar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Other Financial Assistance for Municipalitie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a:ea typeface="+mn-ea"/>
                <a:cs typeface="+mn-cs"/>
              </a:rPr>
              <a:t>Allocates up</a:t>
            </a:r>
            <a:r>
              <a:rPr kumimoji="0" lang="en-US" sz="1800" b="0" i="0" u="none" strike="noStrike" kern="1200" cap="none" spc="0" normalizeH="0" baseline="0" noProof="0">
                <a:ln>
                  <a:noFill/>
                </a:ln>
                <a:solidFill>
                  <a:prstClr val="black"/>
                </a:solidFill>
                <a:effectLst/>
                <a:uLnTx/>
                <a:uFillTx/>
                <a:latin typeface="TW Cen MT"/>
                <a:ea typeface="+mn-ea"/>
                <a:cs typeface="Times New Roman"/>
              </a:rPr>
              <a:t> to </a:t>
            </a:r>
            <a:r>
              <a:rPr kumimoji="0" lang="en-US" sz="1800" b="1" i="0" u="none" strike="noStrike" kern="1200" cap="none" spc="0" normalizeH="0" baseline="0" noProof="0">
                <a:ln>
                  <a:noFill/>
                </a:ln>
                <a:solidFill>
                  <a:prstClr val="black"/>
                </a:solidFill>
                <a:effectLst/>
                <a:uLnTx/>
                <a:uFillTx/>
                <a:latin typeface="TW Cen MT"/>
                <a:ea typeface="+mn-ea"/>
                <a:cs typeface="Times New Roman"/>
              </a:rPr>
              <a:t>$50M</a:t>
            </a:r>
            <a:r>
              <a:rPr kumimoji="0" lang="en-US" sz="1800" b="0" i="0" u="none" strike="noStrike" kern="1200" cap="none" spc="0" normalizeH="0" baseline="0" noProof="0">
                <a:ln>
                  <a:noFill/>
                </a:ln>
                <a:solidFill>
                  <a:prstClr val="black"/>
                </a:solidFill>
                <a:effectLst/>
                <a:uLnTx/>
                <a:uFillTx/>
                <a:latin typeface="TW Cen MT"/>
                <a:ea typeface="+mn-ea"/>
                <a:cs typeface="Times New Roman"/>
              </a:rPr>
              <a:t> in the form of grants, loans, or other financial assistance, which may be directed to municipalities.</a:t>
            </a:r>
            <a:r>
              <a:rPr kumimoji="0" lang="en-US" sz="1800" b="0" i="0" u="none" strike="noStrike" kern="1200" cap="none" spc="0" normalizeH="0" baseline="0" noProof="0">
                <a:ln>
                  <a:noFill/>
                </a:ln>
                <a:solidFill>
                  <a:prstClr val="black"/>
                </a:solidFill>
                <a:effectLst/>
                <a:uLnTx/>
                <a:uFillTx/>
                <a:latin typeface="TW Cen MT"/>
                <a:ea typeface="+mn-ea"/>
                <a:cs typeface="+mn-cs"/>
              </a:rPr>
              <a:t> </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a:ea typeface="+mn-ea"/>
                <a:cs typeface="+mn-cs"/>
              </a:rPr>
              <a:t>Explore providing start-up capital for Direct Pay-eligible projects, etc.</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Technical Assistance for Municipalitie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Allocates up to </a:t>
            </a:r>
            <a:r>
              <a:rPr kumimoji="0" lang="en-US" sz="1800" b="1" i="0" u="none" strike="noStrike" kern="1200" cap="none" spc="0" normalizeH="0" baseline="0" noProof="0">
                <a:ln>
                  <a:noFill/>
                </a:ln>
                <a:solidFill>
                  <a:prstClr val="black"/>
                </a:solidFill>
                <a:effectLst/>
                <a:uLnTx/>
                <a:uFillTx/>
                <a:latin typeface="Tw Cen MT" panose="020B0602020104020603"/>
                <a:ea typeface="+mn-ea"/>
                <a:cs typeface="+mn-cs"/>
              </a:rPr>
              <a:t>$12M</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for technical support to </a:t>
            </a:r>
            <a:r>
              <a:rPr kumimoji="0" lang="en-US" sz="1800" b="0" i="0" u="none" strike="noStrike" kern="1200" cap="none" spc="0" normalizeH="0" baseline="0" noProof="0" err="1">
                <a:ln>
                  <a:noFill/>
                </a:ln>
                <a:solidFill>
                  <a:prstClr val="black"/>
                </a:solidFill>
                <a:effectLst/>
                <a:uLnTx/>
                <a:uFillTx/>
                <a:latin typeface="Tw Cen MT" panose="020B0602020104020603"/>
                <a:ea typeface="+mn-ea"/>
                <a:cs typeface="+mn-cs"/>
              </a:rPr>
              <a:t>munis</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for grant application development and implementation assistance for successful award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Leverage existing municipal outreach (partnership meetings, upcoming community tour, etc.) to understand municipal need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9018209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Custom 1">
      <a:dk1>
        <a:sysClr val="windowText" lastClr="000000"/>
      </a:dk1>
      <a:lt1>
        <a:sysClr val="window" lastClr="FFFFFF"/>
      </a:lt1>
      <a:dk2>
        <a:srgbClr val="1CADE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2.xml><?xml version="1.0" encoding="utf-8"?>
<a:theme xmlns:a="http://schemas.openxmlformats.org/drawingml/2006/main" name="1_MBTA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MassDO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assDOT Theme" id="{8C841E2C-D113-4A07-8750-B878236504B5}" vid="{760B4F15-3A7B-4AEF-82C0-11FA9FAF662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267D306CC2AB9439580D8D9E7721135" ma:contentTypeVersion="14" ma:contentTypeDescription="Create a new document." ma:contentTypeScope="" ma:versionID="3ebc0c2e3e562912fa27ee86ec372a89">
  <xsd:schema xmlns:xsd="http://www.w3.org/2001/XMLSchema" xmlns:xs="http://www.w3.org/2001/XMLSchema" xmlns:p="http://schemas.microsoft.com/office/2006/metadata/properties" xmlns:ns2="bca20fd0-1d1f-44ac-8486-0fcbd3ca37a4" xmlns:ns3="2d5013aa-fb15-41bb-bd6f-83b72aea7b34" targetNamespace="http://schemas.microsoft.com/office/2006/metadata/properties" ma:root="true" ma:fieldsID="be003f2b293049502281ee85cb697aa6" ns2:_="" ns3:_="">
    <xsd:import namespace="bca20fd0-1d1f-44ac-8486-0fcbd3ca37a4"/>
    <xsd:import namespace="2d5013aa-fb15-41bb-bd6f-83b72aea7b3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a20fd0-1d1f-44ac-8486-0fcbd3ca37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d5013aa-fb15-41bb-bd6f-83b72aea7b3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97debb64-58ec-418c-bee6-31f5618343a5}" ma:internalName="TaxCatchAll" ma:showField="CatchAllData" ma:web="2d5013aa-fb15-41bb-bd6f-83b72aea7b3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ca20fd0-1d1f-44ac-8486-0fcbd3ca37a4">
      <Terms xmlns="http://schemas.microsoft.com/office/infopath/2007/PartnerControls"/>
    </lcf76f155ced4ddcb4097134ff3c332f>
    <TaxCatchAll xmlns="2d5013aa-fb15-41bb-bd6f-83b72aea7b3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2146FF-DE0A-488D-A32C-F7AD7F20034D}">
  <ds:schemaRefs>
    <ds:schemaRef ds:uri="2d5013aa-fb15-41bb-bd6f-83b72aea7b34"/>
    <ds:schemaRef ds:uri="bca20fd0-1d1f-44ac-8486-0fcbd3ca37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5D8A7E6-894B-48B5-82F1-023926557A00}">
  <ds:schemaRefs>
    <ds:schemaRef ds:uri="2d5013aa-fb15-41bb-bd6f-83b72aea7b34"/>
    <ds:schemaRef ds:uri="bca20fd0-1d1f-44ac-8486-0fcbd3ca37a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CBEE4A0-927C-45D3-BA43-6935DE8E154C}">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0</Slides>
  <Notes>15</Notes>
  <HiddenSlides>0</HiddenSlides>
  <ScaleCrop>false</ScaleCrop>
  <HeadingPairs>
    <vt:vector size="4" baseType="variant">
      <vt:variant>
        <vt:lpstr>Theme</vt:lpstr>
      </vt:variant>
      <vt:variant>
        <vt:i4>4</vt:i4>
      </vt:variant>
      <vt:variant>
        <vt:lpstr>Slide Titles</vt:lpstr>
      </vt:variant>
      <vt:variant>
        <vt:i4>30</vt:i4>
      </vt:variant>
    </vt:vector>
  </HeadingPairs>
  <TitlesOfParts>
    <vt:vector size="34" baseType="lpstr">
      <vt:lpstr>Integral</vt:lpstr>
      <vt:lpstr>1_MBTA Grid 16:9</vt:lpstr>
      <vt:lpstr>MassDOT Theme</vt:lpstr>
      <vt:lpstr>Office Theme</vt:lpstr>
      <vt:lpstr>Federal funds &amp; infrastructure office community tour</vt:lpstr>
      <vt:lpstr>Municipal needs survey</vt:lpstr>
      <vt:lpstr>Agenda</vt:lpstr>
      <vt:lpstr>About the Federal Funds and Infrastructure Office (FFIO)</vt:lpstr>
      <vt:lpstr>Local Government Engagement</vt:lpstr>
      <vt:lpstr>PowerPoint Presentation</vt:lpstr>
      <vt:lpstr>PowerPoint Presentation</vt:lpstr>
      <vt:lpstr>Federal Matching Funds Legislation</vt:lpstr>
      <vt:lpstr>PowerPoint Presentation</vt:lpstr>
      <vt:lpstr>PowerPoint Presentation</vt:lpstr>
      <vt:lpstr>FFIO Grant programs overview</vt:lpstr>
      <vt:lpstr>PowerPoint Presentation</vt:lpstr>
      <vt:lpstr>PowerPoint Presentation</vt:lpstr>
      <vt:lpstr>PowerPoint Presentation</vt:lpstr>
      <vt:lpstr>New Federal Funding Opportunities</vt:lpstr>
      <vt:lpstr>PowerPoint Presentation</vt:lpstr>
      <vt:lpstr>PowerPoint Presentation</vt:lpstr>
      <vt:lpstr>State programs: </vt:lpstr>
      <vt:lpstr>Direct Pay Tax Credits</vt:lpstr>
      <vt:lpstr>Local Early &amp; Actionable Planning (LEAP) Progra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lpstr>Municipal needs surve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train, Mallory (A&amp;F)</dc:creator>
  <cp:revision>1</cp:revision>
  <dcterms:created xsi:type="dcterms:W3CDTF">2025-06-16T16:24:04Z</dcterms:created>
  <dcterms:modified xsi:type="dcterms:W3CDTF">2025-10-24T21:0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67D306CC2AB9439580D8D9E7721135</vt:lpwstr>
  </property>
  <property fmtid="{D5CDD505-2E9C-101B-9397-08002B2CF9AE}" pid="3" name="MediaServiceImageTags">
    <vt:lpwstr/>
  </property>
</Properties>
</file>